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2" r:id="rId5"/>
    <p:sldMasterId id="2147483682" r:id="rId6"/>
    <p:sldMasterId id="2147483687" r:id="rId7"/>
    <p:sldMasterId id="2147483700" r:id="rId8"/>
    <p:sldMasterId id="2147483706" r:id="rId9"/>
    <p:sldMasterId id="2147483720" r:id="rId10"/>
    <p:sldMasterId id="2147483725" r:id="rId11"/>
  </p:sldMasterIdLst>
  <p:notesMasterIdLst>
    <p:notesMasterId r:id="rId13"/>
  </p:notesMasterIdLst>
  <p:handoutMasterIdLst>
    <p:handoutMasterId r:id="rId14"/>
  </p:handoutMasterIdLst>
  <p:sldIdLst>
    <p:sldId id="1591" r:id="rId12"/>
  </p:sldIdLst>
  <p:sldSz cx="9144000" cy="5143500" type="screen16x9"/>
  <p:notesSz cx="14355763" cy="9926638"/>
  <p:custDataLst>
    <p:tags r:id="rId15"/>
  </p:custDataLst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07ACB740-76C1-4CDA-8418-66AF3E0D2E12}">
          <p14:sldIdLst>
            <p14:sldId id="1591"/>
          </p14:sldIdLst>
        </p14:section>
        <p14:section name="Backups" id="{D810126B-E50F-454F-B287-B98F5DC8609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4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erry Fraudet" initials="TF" lastIdx="5" clrIdx="0"/>
  <p:cmAuthor id="2" name="Lea" initials="L" lastIdx="1" clrIdx="1">
    <p:extLst>
      <p:ext uri="{19B8F6BF-5375-455C-9EA6-DF929625EA0E}">
        <p15:presenceInfo xmlns:p15="http://schemas.microsoft.com/office/powerpoint/2012/main" userId="Lea" providerId="None"/>
      </p:ext>
    </p:extLst>
  </p:cmAuthor>
  <p:cmAuthor id="3" name="NICOLAS CHEVALIER" initials="NC" lastIdx="1" clrIdx="2">
    <p:extLst>
      <p:ext uri="{19B8F6BF-5375-455C-9EA6-DF929625EA0E}">
        <p15:presenceInfo xmlns:p15="http://schemas.microsoft.com/office/powerpoint/2012/main" userId="0b620b125fcccd49" providerId="Windows Live"/>
      </p:ext>
    </p:extLst>
  </p:cmAuthor>
  <p:cmAuthor id="4" name="nicolas chevalier" initials="nc" lastIdx="1" clrIdx="3">
    <p:extLst>
      <p:ext uri="{19B8F6BF-5375-455C-9EA6-DF929625EA0E}">
        <p15:presenceInfo xmlns:p15="http://schemas.microsoft.com/office/powerpoint/2012/main" userId="nicolas chevali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509B"/>
    <a:srgbClr val="85BC25"/>
    <a:srgbClr val="CDCD06"/>
    <a:srgbClr val="1AD1A5"/>
    <a:srgbClr val="00CC9B"/>
    <a:srgbClr val="00866E"/>
    <a:srgbClr val="FFF915"/>
    <a:srgbClr val="5FBFBB"/>
    <a:srgbClr val="97A56A"/>
    <a:srgbClr val="95C1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072" autoAdjust="0"/>
    <p:restoredTop sz="96136" autoAdjust="0"/>
  </p:normalViewPr>
  <p:slideViewPr>
    <p:cSldViewPr snapToGrid="0">
      <p:cViewPr varScale="1">
        <p:scale>
          <a:sx n="107" d="100"/>
          <a:sy n="107" d="100"/>
        </p:scale>
        <p:origin x="600" y="72"/>
      </p:cViewPr>
      <p:guideLst>
        <p:guide orient="horz" pos="1597"/>
        <p:guide pos="2404"/>
      </p:guideLst>
    </p:cSldViewPr>
  </p:slideViewPr>
  <p:outlineViewPr>
    <p:cViewPr>
      <p:scale>
        <a:sx n="33" d="100"/>
        <a:sy n="33" d="100"/>
      </p:scale>
      <p:origin x="0" y="806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 varScale="1">
        <p:scale>
          <a:sx n="114" d="100"/>
          <a:sy n="114" d="100"/>
        </p:scale>
        <p:origin x="2376" y="45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9BFAC1C7-9E5D-4441-A8DE-D4FA72AEF22D}" type="datetimeFigureOut">
              <a:rPr lang="fr-FR" smtClean="0"/>
              <a:t>12/11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3549939F-CAB9-FE40-8FD3-31C143F5FB1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04252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D15EC3C-BFA7-9E4C-BB13-BAA5658834CA}" type="datetimeFigureOut">
              <a:rPr lang="fr-FR" smtClean="0"/>
              <a:t>12/11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68738" y="744538"/>
            <a:ext cx="661828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97545" y="4715155"/>
            <a:ext cx="12648142" cy="3116537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5DEDB5E3-C477-CC4C-8674-BAC7A0562584}" type="slidenum">
              <a:rPr lang="fr-FR" smtClean="0"/>
              <a:t>‹#›</a:t>
            </a:fld>
            <a:endParaRPr lang="fr-FR"/>
          </a:p>
        </p:txBody>
      </p:sp>
      <p:pic>
        <p:nvPicPr>
          <p:cNvPr id="9" name="Graphique 8" descr="Cible">
            <a:extLst>
              <a:ext uri="{FF2B5EF4-FFF2-40B4-BE49-F238E27FC236}">
                <a16:creationId xmlns:a16="http://schemas.microsoft.com/office/drawing/2014/main" id="{D55A4087-F0C7-4BFF-885C-5D4194568E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133806"/>
            <a:ext cx="1914102" cy="992664"/>
          </a:xfrm>
          <a:prstGeom prst="rect">
            <a:avLst/>
          </a:prstGeom>
        </p:spPr>
      </p:pic>
      <p:sp>
        <p:nvSpPr>
          <p:cNvPr id="10" name="Espace réservé des commentaires 4">
            <a:extLst>
              <a:ext uri="{FF2B5EF4-FFF2-40B4-BE49-F238E27FC236}">
                <a16:creationId xmlns:a16="http://schemas.microsoft.com/office/drawing/2014/main" id="{9EA060DA-AD3F-4E58-9E10-24B2ED513D81}"/>
              </a:ext>
            </a:extLst>
          </p:cNvPr>
          <p:cNvSpPr txBox="1">
            <a:spLocks/>
          </p:cNvSpPr>
          <p:nvPr/>
        </p:nvSpPr>
        <p:spPr>
          <a:xfrm>
            <a:off x="1996306" y="8002211"/>
            <a:ext cx="10796666" cy="116242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1070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graphicFrame>
        <p:nvGraphicFramePr>
          <p:cNvPr id="11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86247098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12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2385" y="222917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6321" y="4227180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907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81153" y="154662"/>
            <a:ext cx="2240866" cy="117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519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6" name="Image 5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9" name="Image 8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197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 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7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470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592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514600" y="2037915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931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71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27339-EA36-444E-85CB-9D714C78FFA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9252" lvl="1"/>
            <a:endParaRPr lang="en-US" sz="1100" dirty="0">
              <a:latin typeface="Michelin Black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33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767536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201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12/11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6005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8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4394" y="4046923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14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2604910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4382" y="469687"/>
            <a:ext cx="5539619" cy="396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47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053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9840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85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1069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3" name="Image 2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10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55455220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31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#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75451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438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2898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#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914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36039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8740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8115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12/11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887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1120244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8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9366676"/>
              </p:ext>
            </p:extLst>
          </p:nvPr>
        </p:nvGraphicFramePr>
        <p:xfrm>
          <a:off x="-1" y="4970026"/>
          <a:ext cx="6604001" cy="180044"/>
        </p:xfrm>
        <a:graphic>
          <a:graphicData uri="http://schemas.openxmlformats.org/drawingml/2006/table">
            <a:tbl>
              <a:tblPr/>
              <a:tblGrid>
                <a:gridCol w="2469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7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09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3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88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9961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455331" y="1927844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graphicFrame>
        <p:nvGraphicFramePr>
          <p:cNvPr id="6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54763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10363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289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4891"/>
          </a:p>
        </p:txBody>
      </p:sp>
    </p:spTree>
    <p:extLst>
      <p:ext uri="{BB962C8B-B14F-4D97-AF65-F5344CB8AC3E}">
        <p14:creationId xmlns:p14="http://schemas.microsoft.com/office/powerpoint/2010/main" val="4140284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3675" y="4031358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7128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33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54711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1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731" r:id="rId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058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5299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732" r:id="rId4"/>
    <p:sldLayoutId id="2147483713" r:id="rId5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17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7" r:id="rId2"/>
    <p:sldLayoutId id="214748369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83539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52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37399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084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777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35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A4615FE8-2ABF-4500-990D-350AB5BFDF57}"/>
              </a:ext>
            </a:extLst>
          </p:cNvPr>
          <p:cNvSpPr txBox="1"/>
          <p:nvPr/>
        </p:nvSpPr>
        <p:spPr>
          <a:xfrm>
            <a:off x="3983665" y="2793397"/>
            <a:ext cx="6340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500" dirty="0">
                <a:solidFill>
                  <a:srgbClr val="27509B"/>
                </a:solidFill>
                <a:latin typeface="Gotham Rounded Bold" pitchFamily="50" charset="0"/>
              </a:rPr>
              <a:t>HEALTH</a:t>
            </a:r>
          </a:p>
          <a:p>
            <a:r>
              <a:rPr lang="fr-FR" sz="500" dirty="0">
                <a:solidFill>
                  <a:srgbClr val="27509B"/>
                </a:solidFill>
                <a:latin typeface="Gotham Rounded Bold" pitchFamily="50" charset="0"/>
              </a:rPr>
              <a:t> CHECK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382A4056-3D21-4D81-96FE-5B83C4677083}"/>
              </a:ext>
            </a:extLst>
          </p:cNvPr>
          <p:cNvSpPr txBox="1"/>
          <p:nvPr/>
        </p:nvSpPr>
        <p:spPr>
          <a:xfrm>
            <a:off x="6339455" y="2793396"/>
            <a:ext cx="6340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500" dirty="0">
                <a:solidFill>
                  <a:srgbClr val="27509B"/>
                </a:solidFill>
                <a:latin typeface="Gotham Rounded Bold" pitchFamily="50" charset="0"/>
              </a:rPr>
              <a:t>HEALTH</a:t>
            </a:r>
          </a:p>
          <a:p>
            <a:r>
              <a:rPr lang="fr-FR" sz="500" dirty="0">
                <a:solidFill>
                  <a:srgbClr val="27509B"/>
                </a:solidFill>
                <a:latin typeface="Gotham Rounded Bold" pitchFamily="50" charset="0"/>
              </a:rPr>
              <a:t> CHECK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EDE2874-BC1C-45D0-9476-1BA243F72CD4}"/>
              </a:ext>
            </a:extLst>
          </p:cNvPr>
          <p:cNvSpPr txBox="1"/>
          <p:nvPr/>
        </p:nvSpPr>
        <p:spPr>
          <a:xfrm>
            <a:off x="143895" y="67121"/>
            <a:ext cx="28235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1751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otham Rounded Bold" pitchFamily="50" charset="0"/>
                <a:cs typeface="Aharoni" panose="02010803020104030203" pitchFamily="2" charset="-79"/>
              </a:rPr>
              <a:t>PRODUCT LIFE CYCLE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257FB4BF-E099-4F59-98D2-580D0D57DFAB}"/>
              </a:ext>
            </a:extLst>
          </p:cNvPr>
          <p:cNvGrpSpPr/>
          <p:nvPr/>
        </p:nvGrpSpPr>
        <p:grpSpPr>
          <a:xfrm>
            <a:off x="5031467" y="67121"/>
            <a:ext cx="4089967" cy="1080672"/>
            <a:chOff x="3489324" y="450850"/>
            <a:chExt cx="1509088" cy="447675"/>
          </a:xfrm>
        </p:grpSpPr>
        <p:pic>
          <p:nvPicPr>
            <p:cNvPr id="9" name="Graphique 8">
              <a:extLst>
                <a:ext uri="{FF2B5EF4-FFF2-40B4-BE49-F238E27FC236}">
                  <a16:creationId xmlns:a16="http://schemas.microsoft.com/office/drawing/2014/main" id="{A0FD3888-D1EB-4E8E-B838-C0894CA26D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4981" t="43049" r="85536" b="40845"/>
            <a:stretch/>
          </p:blipFill>
          <p:spPr>
            <a:xfrm>
              <a:off x="3489324" y="450850"/>
              <a:ext cx="854075" cy="447675"/>
            </a:xfrm>
            <a:prstGeom prst="rect">
              <a:avLst/>
            </a:prstGeom>
          </p:spPr>
        </p:pic>
        <p:pic>
          <p:nvPicPr>
            <p:cNvPr id="11" name="Graphique 10">
              <a:extLst>
                <a:ext uri="{FF2B5EF4-FFF2-40B4-BE49-F238E27FC236}">
                  <a16:creationId xmlns:a16="http://schemas.microsoft.com/office/drawing/2014/main" id="{7A93A71D-E842-445A-B130-B8C3109E90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88372" t="43507" r="3628" b="42385"/>
            <a:stretch/>
          </p:blipFill>
          <p:spPr>
            <a:xfrm>
              <a:off x="4277914" y="459184"/>
              <a:ext cx="720498" cy="392114"/>
            </a:xfrm>
            <a:prstGeom prst="rect">
              <a:avLst/>
            </a:prstGeom>
          </p:spPr>
        </p:pic>
      </p:grpSp>
      <p:sp>
        <p:nvSpPr>
          <p:cNvPr id="7" name="ZoneTexte 6">
            <a:extLst>
              <a:ext uri="{FF2B5EF4-FFF2-40B4-BE49-F238E27FC236}">
                <a16:creationId xmlns:a16="http://schemas.microsoft.com/office/drawing/2014/main" id="{2D1F48B4-F11B-4A83-BA61-17138F1ED58D}"/>
              </a:ext>
            </a:extLst>
          </p:cNvPr>
          <p:cNvSpPr txBox="1"/>
          <p:nvPr/>
        </p:nvSpPr>
        <p:spPr>
          <a:xfrm>
            <a:off x="920479" y="3473133"/>
            <a:ext cx="2625751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rgbClr val="27509B"/>
                </a:solidFill>
                <a:latin typeface="Gotham Rounded Bold" pitchFamily="50" charset="0"/>
              </a:rPr>
              <a:t>EXPLORE PROBLEM SPACE &amp; SOLUTION SPACE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EF993AC2-FE4D-489C-A42B-684353DEC631}"/>
              </a:ext>
            </a:extLst>
          </p:cNvPr>
          <p:cNvSpPr txBox="1"/>
          <p:nvPr/>
        </p:nvSpPr>
        <p:spPr>
          <a:xfrm>
            <a:off x="3687716" y="3473133"/>
            <a:ext cx="1990725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rgbClr val="27509B"/>
                </a:solidFill>
                <a:latin typeface="Gotham Rounded Bold" pitchFamily="50" charset="0"/>
              </a:rPr>
              <a:t>VERIFY PRODUCT – MARKET FIT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D7B1AB73-4CA8-42BB-A17B-2896C15D97E4}"/>
              </a:ext>
            </a:extLst>
          </p:cNvPr>
          <p:cNvSpPr txBox="1"/>
          <p:nvPr/>
        </p:nvSpPr>
        <p:spPr>
          <a:xfrm>
            <a:off x="2402727" y="4159275"/>
            <a:ext cx="4943475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b="1" dirty="0">
                <a:solidFill>
                  <a:srgbClr val="85BC25"/>
                </a:solidFill>
                <a:latin typeface="Gotham Rounded Bold" pitchFamily="50" charset="0"/>
              </a:rPr>
              <a:t>FROM IDEA TO RETIREMENT</a:t>
            </a:r>
          </a:p>
        </p:txBody>
      </p:sp>
      <p:pic>
        <p:nvPicPr>
          <p:cNvPr id="32" name="Image 31">
            <a:extLst>
              <a:ext uri="{FF2B5EF4-FFF2-40B4-BE49-F238E27FC236}">
                <a16:creationId xmlns:a16="http://schemas.microsoft.com/office/drawing/2014/main" id="{EBF7A336-4192-40DA-88C0-6B6254773E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943" y="4608217"/>
            <a:ext cx="1105750" cy="448043"/>
          </a:xfrm>
          <a:prstGeom prst="rect">
            <a:avLst/>
          </a:prstGeom>
        </p:spPr>
      </p:pic>
      <p:pic>
        <p:nvPicPr>
          <p:cNvPr id="34" name="Graphique 33">
            <a:extLst>
              <a:ext uri="{FF2B5EF4-FFF2-40B4-BE49-F238E27FC236}">
                <a16:creationId xmlns:a16="http://schemas.microsoft.com/office/drawing/2014/main" id="{5A740329-9CB3-4B17-8447-4CB8CB0A78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79198" y="4970951"/>
            <a:ext cx="364802" cy="170619"/>
          </a:xfrm>
          <a:prstGeom prst="rect">
            <a:avLst/>
          </a:prstGeom>
        </p:spPr>
      </p:pic>
      <p:sp>
        <p:nvSpPr>
          <p:cNvPr id="40" name="ZoneTexte 39">
            <a:extLst>
              <a:ext uri="{FF2B5EF4-FFF2-40B4-BE49-F238E27FC236}">
                <a16:creationId xmlns:a16="http://schemas.microsoft.com/office/drawing/2014/main" id="{4A96F70F-9944-47B3-8736-63CE7BADA6CC}"/>
              </a:ext>
            </a:extLst>
          </p:cNvPr>
          <p:cNvSpPr txBox="1"/>
          <p:nvPr/>
        </p:nvSpPr>
        <p:spPr>
          <a:xfrm>
            <a:off x="7110456" y="4260068"/>
            <a:ext cx="1767940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100" dirty="0">
                <a:latin typeface="Michelin Black" panose="02000000000000000000" pitchFamily="50" charset="0"/>
              </a:rPr>
              <a:t>* LF/HF Prototype or MVP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E45D6EB2-134A-4CF7-8A33-FCD07878DC39}"/>
              </a:ext>
            </a:extLst>
          </p:cNvPr>
          <p:cNvSpPr txBox="1"/>
          <p:nvPr/>
        </p:nvSpPr>
        <p:spPr>
          <a:xfrm>
            <a:off x="6624778" y="3473132"/>
            <a:ext cx="675148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rgbClr val="27509B"/>
                </a:solidFill>
                <a:latin typeface="Gotham Rounded Bold" pitchFamily="50" charset="0"/>
              </a:rPr>
              <a:t>SCALE</a:t>
            </a:r>
          </a:p>
        </p:txBody>
      </p:sp>
      <p:sp>
        <p:nvSpPr>
          <p:cNvPr id="312" name="Freeform: Shape 311">
            <a:extLst>
              <a:ext uri="{FF2B5EF4-FFF2-40B4-BE49-F238E27FC236}">
                <a16:creationId xmlns:a16="http://schemas.microsoft.com/office/drawing/2014/main" id="{D36E4344-DEE4-453D-AC48-99698E7E0A6F}"/>
              </a:ext>
            </a:extLst>
          </p:cNvPr>
          <p:cNvSpPr/>
          <p:nvPr/>
        </p:nvSpPr>
        <p:spPr>
          <a:xfrm>
            <a:off x="6257690" y="2073558"/>
            <a:ext cx="1166024" cy="1178991"/>
          </a:xfrm>
          <a:custGeom>
            <a:avLst/>
            <a:gdLst>
              <a:gd name="connsiteX0" fmla="*/ 1166024 w 1166024"/>
              <a:gd name="connsiteY0" fmla="*/ 589496 h 1178991"/>
              <a:gd name="connsiteX1" fmla="*/ 583012 w 1166024"/>
              <a:gd name="connsiteY1" fmla="*/ 1178992 h 1178991"/>
              <a:gd name="connsiteX2" fmla="*/ 0 w 1166024"/>
              <a:gd name="connsiteY2" fmla="*/ 589496 h 1178991"/>
              <a:gd name="connsiteX3" fmla="*/ 583012 w 1166024"/>
              <a:gd name="connsiteY3" fmla="*/ 0 h 1178991"/>
              <a:gd name="connsiteX4" fmla="*/ 1166024 w 1166024"/>
              <a:gd name="connsiteY4" fmla="*/ 589496 h 1178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6024" h="1178991">
                <a:moveTo>
                  <a:pt x="1166024" y="589496"/>
                </a:moveTo>
                <a:cubicBezTo>
                  <a:pt x="1166024" y="915065"/>
                  <a:pt x="905001" y="1178992"/>
                  <a:pt x="583012" y="1178992"/>
                </a:cubicBezTo>
                <a:cubicBezTo>
                  <a:pt x="261024" y="1178992"/>
                  <a:pt x="0" y="915065"/>
                  <a:pt x="0" y="589496"/>
                </a:cubicBezTo>
                <a:cubicBezTo>
                  <a:pt x="0" y="263926"/>
                  <a:pt x="261023" y="0"/>
                  <a:pt x="583012" y="0"/>
                </a:cubicBezTo>
                <a:cubicBezTo>
                  <a:pt x="905001" y="0"/>
                  <a:pt x="1166024" y="263926"/>
                  <a:pt x="1166024" y="589496"/>
                </a:cubicBezTo>
                <a:close/>
              </a:path>
            </a:pathLst>
          </a:custGeom>
          <a:noFill/>
          <a:ln w="16584" cap="flat">
            <a:solidFill>
              <a:srgbClr val="27509B"/>
            </a:solidFill>
            <a:custDash>
              <a:ds d="907830" sp="907830"/>
            </a:custDash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13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6876710" y="2514991"/>
            <a:ext cx="400069" cy="243268"/>
            <a:chOff x="6876710" y="2514991"/>
            <a:chExt cx="400069" cy="243268"/>
          </a:xfrm>
          <a:solidFill>
            <a:schemeClr val="accent1"/>
          </a:solidFill>
        </p:grpSpPr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DD7600D6-9EF0-4514-8A73-EB46074A0159}"/>
                </a:ext>
              </a:extLst>
            </p:cNvPr>
            <p:cNvSpPr/>
            <p:nvPr/>
          </p:nvSpPr>
          <p:spPr>
            <a:xfrm>
              <a:off x="6876710" y="2514991"/>
              <a:ext cx="241186" cy="242751"/>
            </a:xfrm>
            <a:custGeom>
              <a:avLst/>
              <a:gdLst>
                <a:gd name="connsiteX0" fmla="*/ 120676 w 241186"/>
                <a:gd name="connsiteY0" fmla="*/ 242751 h 242751"/>
                <a:gd name="connsiteX1" fmla="*/ 0 w 241186"/>
                <a:gd name="connsiteY1" fmla="*/ 120794 h 242751"/>
                <a:gd name="connsiteX2" fmla="*/ 120510 w 241186"/>
                <a:gd name="connsiteY2" fmla="*/ 0 h 242751"/>
                <a:gd name="connsiteX3" fmla="*/ 241186 w 241186"/>
                <a:gd name="connsiteY3" fmla="*/ 121957 h 242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186" h="242751">
                  <a:moveTo>
                    <a:pt x="120676" y="242751"/>
                  </a:moveTo>
                  <a:lnTo>
                    <a:pt x="0" y="120794"/>
                  </a:lnTo>
                  <a:lnTo>
                    <a:pt x="120510" y="0"/>
                  </a:lnTo>
                  <a:lnTo>
                    <a:pt x="241186" y="121957"/>
                  </a:lnTo>
                  <a:close/>
                </a:path>
              </a:pathLst>
            </a:custGeom>
            <a:solidFill>
              <a:srgbClr val="9CBC59"/>
            </a:solidFill>
            <a:ln w="1243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156F533B-5ED4-4D92-B763-258497DB4F5C}"/>
                </a:ext>
              </a:extLst>
            </p:cNvPr>
            <p:cNvSpPr/>
            <p:nvPr/>
          </p:nvSpPr>
          <p:spPr>
            <a:xfrm>
              <a:off x="6937898" y="2521496"/>
              <a:ext cx="228824" cy="230258"/>
            </a:xfrm>
            <a:custGeom>
              <a:avLst/>
              <a:gdLst>
                <a:gd name="connsiteX0" fmla="*/ 114537 w 228824"/>
                <a:gd name="connsiteY0" fmla="*/ 230258 h 230258"/>
                <a:gd name="connsiteX1" fmla="*/ 0 w 228824"/>
                <a:gd name="connsiteY1" fmla="*/ 114591 h 230258"/>
                <a:gd name="connsiteX2" fmla="*/ 114329 w 228824"/>
                <a:gd name="connsiteY2" fmla="*/ 0 h 230258"/>
                <a:gd name="connsiteX3" fmla="*/ 228824 w 228824"/>
                <a:gd name="connsiteY3" fmla="*/ 115668 h 230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824" h="230258">
                  <a:moveTo>
                    <a:pt x="114537" y="230258"/>
                  </a:moveTo>
                  <a:lnTo>
                    <a:pt x="0" y="114591"/>
                  </a:lnTo>
                  <a:lnTo>
                    <a:pt x="114329" y="0"/>
                  </a:lnTo>
                  <a:lnTo>
                    <a:pt x="228824" y="115668"/>
                  </a:lnTo>
                  <a:close/>
                </a:path>
              </a:pathLst>
            </a:custGeom>
            <a:solidFill>
              <a:srgbClr val="2AADE4"/>
            </a:solidFill>
            <a:ln w="1243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9999816E-7284-4989-B5F7-878DB07BEE33}"/>
                </a:ext>
              </a:extLst>
            </p:cNvPr>
            <p:cNvSpPr/>
            <p:nvPr/>
          </p:nvSpPr>
          <p:spPr>
            <a:xfrm>
              <a:off x="6986725" y="2515508"/>
              <a:ext cx="241227" cy="242751"/>
            </a:xfrm>
            <a:custGeom>
              <a:avLst/>
              <a:gdLst>
                <a:gd name="connsiteX0" fmla="*/ 120718 w 241227"/>
                <a:gd name="connsiteY0" fmla="*/ 242751 h 242751"/>
                <a:gd name="connsiteX1" fmla="*/ 0 w 241227"/>
                <a:gd name="connsiteY1" fmla="*/ 120794 h 242751"/>
                <a:gd name="connsiteX2" fmla="*/ 120510 w 241227"/>
                <a:gd name="connsiteY2" fmla="*/ 0 h 242751"/>
                <a:gd name="connsiteX3" fmla="*/ 241228 w 241227"/>
                <a:gd name="connsiteY3" fmla="*/ 121914 h 242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227" h="242751">
                  <a:moveTo>
                    <a:pt x="120718" y="242751"/>
                  </a:moveTo>
                  <a:lnTo>
                    <a:pt x="0" y="120794"/>
                  </a:lnTo>
                  <a:lnTo>
                    <a:pt x="120510" y="0"/>
                  </a:lnTo>
                  <a:lnTo>
                    <a:pt x="241228" y="121914"/>
                  </a:lnTo>
                  <a:close/>
                </a:path>
              </a:pathLst>
            </a:custGeom>
            <a:solidFill>
              <a:srgbClr val="8165A3"/>
            </a:solidFill>
            <a:ln w="1243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C2107FC1-6275-47C2-AD3D-B3D517B82967}"/>
                </a:ext>
              </a:extLst>
            </p:cNvPr>
            <p:cNvSpPr/>
            <p:nvPr/>
          </p:nvSpPr>
          <p:spPr>
            <a:xfrm>
              <a:off x="7047955" y="2522013"/>
              <a:ext cx="228824" cy="230258"/>
            </a:xfrm>
            <a:custGeom>
              <a:avLst/>
              <a:gdLst>
                <a:gd name="connsiteX0" fmla="*/ 114495 w 228824"/>
                <a:gd name="connsiteY0" fmla="*/ 230258 h 230258"/>
                <a:gd name="connsiteX1" fmla="*/ 0 w 228824"/>
                <a:gd name="connsiteY1" fmla="*/ 114591 h 230258"/>
                <a:gd name="connsiteX2" fmla="*/ 114288 w 228824"/>
                <a:gd name="connsiteY2" fmla="*/ 0 h 230258"/>
                <a:gd name="connsiteX3" fmla="*/ 228824 w 228824"/>
                <a:gd name="connsiteY3" fmla="*/ 115668 h 230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824" h="230258">
                  <a:moveTo>
                    <a:pt x="114495" y="230258"/>
                  </a:moveTo>
                  <a:lnTo>
                    <a:pt x="0" y="114591"/>
                  </a:lnTo>
                  <a:lnTo>
                    <a:pt x="114288" y="0"/>
                  </a:lnTo>
                  <a:lnTo>
                    <a:pt x="228824" y="115668"/>
                  </a:lnTo>
                  <a:close/>
                </a:path>
              </a:pathLst>
            </a:custGeom>
            <a:solidFill>
              <a:srgbClr val="F4981A"/>
            </a:solidFill>
            <a:ln w="1243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18" name="Freeform: Shape 317">
            <a:extLst>
              <a:ext uri="{FF2B5EF4-FFF2-40B4-BE49-F238E27FC236}">
                <a16:creationId xmlns:a16="http://schemas.microsoft.com/office/drawing/2014/main" id="{16B836DC-2CB8-471C-8DFB-B8A56FD6982E}"/>
              </a:ext>
            </a:extLst>
          </p:cNvPr>
          <p:cNvSpPr/>
          <p:nvPr/>
        </p:nvSpPr>
        <p:spPr>
          <a:xfrm>
            <a:off x="6260387" y="2820164"/>
            <a:ext cx="1556966" cy="125145"/>
          </a:xfrm>
          <a:custGeom>
            <a:avLst/>
            <a:gdLst>
              <a:gd name="connsiteX0" fmla="*/ 0 w 1556966"/>
              <a:gd name="connsiteY0" fmla="*/ 0 h 125145"/>
              <a:gd name="connsiteX1" fmla="*/ 1556967 w 1556966"/>
              <a:gd name="connsiteY1" fmla="*/ 0 h 125145"/>
              <a:gd name="connsiteX2" fmla="*/ 1556967 w 1556966"/>
              <a:gd name="connsiteY2" fmla="*/ 125145 h 125145"/>
              <a:gd name="connsiteX3" fmla="*/ 0 w 1556966"/>
              <a:gd name="connsiteY3" fmla="*/ 125145 h 125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56966" h="125145">
                <a:moveTo>
                  <a:pt x="0" y="0"/>
                </a:moveTo>
                <a:lnTo>
                  <a:pt x="1556967" y="0"/>
                </a:lnTo>
                <a:lnTo>
                  <a:pt x="1556967" y="125145"/>
                </a:lnTo>
                <a:lnTo>
                  <a:pt x="0" y="125145"/>
                </a:lnTo>
                <a:close/>
              </a:path>
            </a:pathLst>
          </a:custGeom>
          <a:noFill/>
          <a:ln w="414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19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6415951" y="2501292"/>
            <a:ext cx="290012" cy="295135"/>
            <a:chOff x="6415951" y="2501292"/>
            <a:chExt cx="290012" cy="295135"/>
          </a:xfrm>
          <a:solidFill>
            <a:schemeClr val="accent1"/>
          </a:solidFill>
        </p:grpSpPr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0BCB5BF5-ECB0-4B35-8999-A8EF51DF6EC2}"/>
                </a:ext>
              </a:extLst>
            </p:cNvPr>
            <p:cNvSpPr/>
            <p:nvPr/>
          </p:nvSpPr>
          <p:spPr>
            <a:xfrm>
              <a:off x="6415951" y="2501292"/>
              <a:ext cx="290012" cy="295135"/>
            </a:xfrm>
            <a:custGeom>
              <a:avLst/>
              <a:gdLst>
                <a:gd name="connsiteX0" fmla="*/ 145027 w 290012"/>
                <a:gd name="connsiteY0" fmla="*/ 295136 h 295135"/>
                <a:gd name="connsiteX1" fmla="*/ 0 w 290012"/>
                <a:gd name="connsiteY1" fmla="*/ 147546 h 295135"/>
                <a:gd name="connsiteX2" fmla="*/ 145027 w 290012"/>
                <a:gd name="connsiteY2" fmla="*/ 0 h 295135"/>
                <a:gd name="connsiteX3" fmla="*/ 290013 w 290012"/>
                <a:gd name="connsiteY3" fmla="*/ 147546 h 295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012" h="295135">
                  <a:moveTo>
                    <a:pt x="145027" y="295136"/>
                  </a:moveTo>
                  <a:lnTo>
                    <a:pt x="0" y="147546"/>
                  </a:lnTo>
                  <a:lnTo>
                    <a:pt x="145027" y="0"/>
                  </a:lnTo>
                  <a:lnTo>
                    <a:pt x="290013" y="147546"/>
                  </a:lnTo>
                  <a:close/>
                </a:path>
              </a:pathLst>
            </a:custGeom>
            <a:solidFill>
              <a:srgbClr val="1B9DD9"/>
            </a:solidFill>
            <a:ln w="2073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38A52D0A-05A8-4244-8756-32D3F6AAA770}"/>
                </a:ext>
              </a:extLst>
            </p:cNvPr>
            <p:cNvSpPr/>
            <p:nvPr/>
          </p:nvSpPr>
          <p:spPr>
            <a:xfrm>
              <a:off x="6524223" y="2598478"/>
              <a:ext cx="73467" cy="100805"/>
            </a:xfrm>
            <a:custGeom>
              <a:avLst/>
              <a:gdLst>
                <a:gd name="connsiteX0" fmla="*/ 47333 w 73467"/>
                <a:gd name="connsiteY0" fmla="*/ 69702 h 100805"/>
                <a:gd name="connsiteX1" fmla="*/ 22070 w 73467"/>
                <a:gd name="connsiteY1" fmla="*/ 69702 h 100805"/>
                <a:gd name="connsiteX2" fmla="*/ 22070 w 73467"/>
                <a:gd name="connsiteY2" fmla="*/ 67117 h 100805"/>
                <a:gd name="connsiteX3" fmla="*/ 23521 w 73467"/>
                <a:gd name="connsiteY3" fmla="*/ 56477 h 100805"/>
                <a:gd name="connsiteX4" fmla="*/ 27877 w 73467"/>
                <a:gd name="connsiteY4" fmla="*/ 48981 h 100805"/>
                <a:gd name="connsiteX5" fmla="*/ 40861 w 73467"/>
                <a:gd name="connsiteY5" fmla="*/ 37091 h 100805"/>
                <a:gd name="connsiteX6" fmla="*/ 46254 w 73467"/>
                <a:gd name="connsiteY6" fmla="*/ 28906 h 100805"/>
                <a:gd name="connsiteX7" fmla="*/ 44097 w 73467"/>
                <a:gd name="connsiteY7" fmla="*/ 23134 h 100805"/>
                <a:gd name="connsiteX8" fmla="*/ 37543 w 73467"/>
                <a:gd name="connsiteY8" fmla="*/ 21066 h 100805"/>
                <a:gd name="connsiteX9" fmla="*/ 29744 w 73467"/>
                <a:gd name="connsiteY9" fmla="*/ 24254 h 100805"/>
                <a:gd name="connsiteX10" fmla="*/ 25803 w 73467"/>
                <a:gd name="connsiteY10" fmla="*/ 35368 h 100805"/>
                <a:gd name="connsiteX11" fmla="*/ 0 w 73467"/>
                <a:gd name="connsiteY11" fmla="*/ 32137 h 100805"/>
                <a:gd name="connsiteX12" fmla="*/ 10329 w 73467"/>
                <a:gd name="connsiteY12" fmla="*/ 8831 h 100805"/>
                <a:gd name="connsiteX13" fmla="*/ 37958 w 73467"/>
                <a:gd name="connsiteY13" fmla="*/ 0 h 100805"/>
                <a:gd name="connsiteX14" fmla="*/ 61355 w 73467"/>
                <a:gd name="connsiteY14" fmla="*/ 6160 h 100805"/>
                <a:gd name="connsiteX15" fmla="*/ 73468 w 73467"/>
                <a:gd name="connsiteY15" fmla="*/ 28346 h 100805"/>
                <a:gd name="connsiteX16" fmla="*/ 70357 w 73467"/>
                <a:gd name="connsiteY16" fmla="*/ 39461 h 100805"/>
                <a:gd name="connsiteX17" fmla="*/ 57579 w 73467"/>
                <a:gd name="connsiteY17" fmla="*/ 52514 h 100805"/>
                <a:gd name="connsiteX18" fmla="*/ 49117 w 73467"/>
                <a:gd name="connsiteY18" fmla="*/ 61216 h 100805"/>
                <a:gd name="connsiteX19" fmla="*/ 47333 w 73467"/>
                <a:gd name="connsiteY19" fmla="*/ 69702 h 100805"/>
                <a:gd name="connsiteX20" fmla="*/ 21198 w 73467"/>
                <a:gd name="connsiteY20" fmla="*/ 76509 h 100805"/>
                <a:gd name="connsiteX21" fmla="*/ 48246 w 73467"/>
                <a:gd name="connsiteY21" fmla="*/ 76509 h 100805"/>
                <a:gd name="connsiteX22" fmla="*/ 48246 w 73467"/>
                <a:gd name="connsiteY22" fmla="*/ 100805 h 100805"/>
                <a:gd name="connsiteX23" fmla="*/ 21198 w 73467"/>
                <a:gd name="connsiteY23" fmla="*/ 100805 h 100805"/>
                <a:gd name="connsiteX24" fmla="*/ 21198 w 73467"/>
                <a:gd name="connsiteY24" fmla="*/ 76509 h 100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3467" h="100805">
                  <a:moveTo>
                    <a:pt x="47333" y="69702"/>
                  </a:moveTo>
                  <a:lnTo>
                    <a:pt x="22070" y="69702"/>
                  </a:lnTo>
                  <a:lnTo>
                    <a:pt x="22070" y="67117"/>
                  </a:lnTo>
                  <a:cubicBezTo>
                    <a:pt x="22070" y="62766"/>
                    <a:pt x="22567" y="59191"/>
                    <a:pt x="23521" y="56477"/>
                  </a:cubicBezTo>
                  <a:cubicBezTo>
                    <a:pt x="24475" y="53763"/>
                    <a:pt x="25969" y="51264"/>
                    <a:pt x="27877" y="48981"/>
                  </a:cubicBezTo>
                  <a:cubicBezTo>
                    <a:pt x="29786" y="46741"/>
                    <a:pt x="34141" y="42778"/>
                    <a:pt x="40861" y="37091"/>
                  </a:cubicBezTo>
                  <a:cubicBezTo>
                    <a:pt x="44470" y="34119"/>
                    <a:pt x="46254" y="31405"/>
                    <a:pt x="46254" y="28906"/>
                  </a:cubicBezTo>
                  <a:cubicBezTo>
                    <a:pt x="46254" y="26408"/>
                    <a:pt x="45549" y="24512"/>
                    <a:pt x="44097" y="23134"/>
                  </a:cubicBezTo>
                  <a:cubicBezTo>
                    <a:pt x="42645" y="21755"/>
                    <a:pt x="40488" y="21066"/>
                    <a:pt x="37543" y="21066"/>
                  </a:cubicBezTo>
                  <a:cubicBezTo>
                    <a:pt x="34390" y="21066"/>
                    <a:pt x="31777" y="22143"/>
                    <a:pt x="29744" y="24254"/>
                  </a:cubicBezTo>
                  <a:cubicBezTo>
                    <a:pt x="27670" y="26364"/>
                    <a:pt x="26384" y="30069"/>
                    <a:pt x="25803" y="35368"/>
                  </a:cubicBezTo>
                  <a:lnTo>
                    <a:pt x="0" y="32137"/>
                  </a:lnTo>
                  <a:cubicBezTo>
                    <a:pt x="872" y="22487"/>
                    <a:pt x="4314" y="14733"/>
                    <a:pt x="10329" y="8831"/>
                  </a:cubicBezTo>
                  <a:cubicBezTo>
                    <a:pt x="16345" y="2929"/>
                    <a:pt x="25554" y="0"/>
                    <a:pt x="37958" y="0"/>
                  </a:cubicBezTo>
                  <a:cubicBezTo>
                    <a:pt x="47623" y="0"/>
                    <a:pt x="55422" y="2068"/>
                    <a:pt x="61355" y="6160"/>
                  </a:cubicBezTo>
                  <a:cubicBezTo>
                    <a:pt x="69402" y="11718"/>
                    <a:pt x="73468" y="19127"/>
                    <a:pt x="73468" y="28346"/>
                  </a:cubicBezTo>
                  <a:cubicBezTo>
                    <a:pt x="73468" y="32180"/>
                    <a:pt x="72431" y="35885"/>
                    <a:pt x="70357" y="39461"/>
                  </a:cubicBezTo>
                  <a:cubicBezTo>
                    <a:pt x="68283" y="43036"/>
                    <a:pt x="64010" y="47387"/>
                    <a:pt x="57579" y="52514"/>
                  </a:cubicBezTo>
                  <a:cubicBezTo>
                    <a:pt x="53099" y="56132"/>
                    <a:pt x="50278" y="59019"/>
                    <a:pt x="49117" y="61216"/>
                  </a:cubicBezTo>
                  <a:cubicBezTo>
                    <a:pt x="47914" y="63326"/>
                    <a:pt x="47333" y="66170"/>
                    <a:pt x="47333" y="69702"/>
                  </a:cubicBezTo>
                  <a:close/>
                  <a:moveTo>
                    <a:pt x="21198" y="76509"/>
                  </a:moveTo>
                  <a:lnTo>
                    <a:pt x="48246" y="76509"/>
                  </a:lnTo>
                  <a:lnTo>
                    <a:pt x="48246" y="100805"/>
                  </a:lnTo>
                  <a:lnTo>
                    <a:pt x="21198" y="100805"/>
                  </a:lnTo>
                  <a:lnTo>
                    <a:pt x="21198" y="76509"/>
                  </a:lnTo>
                  <a:close/>
                </a:path>
              </a:pathLst>
            </a:custGeom>
            <a:solidFill>
              <a:srgbClr val="FFFFFF"/>
            </a:solidFill>
            <a:ln w="4146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22" name="Freeform: Shape 321">
            <a:extLst>
              <a:ext uri="{FF2B5EF4-FFF2-40B4-BE49-F238E27FC236}">
                <a16:creationId xmlns:a16="http://schemas.microsoft.com/office/drawing/2014/main" id="{51108ACA-7072-4C1F-94FA-424DC2725887}"/>
              </a:ext>
            </a:extLst>
          </p:cNvPr>
          <p:cNvSpPr/>
          <p:nvPr/>
        </p:nvSpPr>
        <p:spPr>
          <a:xfrm>
            <a:off x="6756739" y="2611919"/>
            <a:ext cx="83962" cy="59664"/>
          </a:xfrm>
          <a:custGeom>
            <a:avLst/>
            <a:gdLst>
              <a:gd name="connsiteX0" fmla="*/ 83963 w 83962"/>
              <a:gd name="connsiteY0" fmla="*/ 29035 h 59664"/>
              <a:gd name="connsiteX1" fmla="*/ 45674 w 83962"/>
              <a:gd name="connsiteY1" fmla="*/ 59665 h 59664"/>
              <a:gd name="connsiteX2" fmla="*/ 45424 w 83962"/>
              <a:gd name="connsiteY2" fmla="*/ 40494 h 59664"/>
              <a:gd name="connsiteX3" fmla="*/ 0 w 83962"/>
              <a:gd name="connsiteY3" fmla="*/ 40494 h 59664"/>
              <a:gd name="connsiteX4" fmla="*/ 0 w 83962"/>
              <a:gd name="connsiteY4" fmla="*/ 18653 h 59664"/>
              <a:gd name="connsiteX5" fmla="*/ 45176 w 83962"/>
              <a:gd name="connsiteY5" fmla="*/ 18653 h 59664"/>
              <a:gd name="connsiteX6" fmla="*/ 44927 w 83962"/>
              <a:gd name="connsiteY6" fmla="*/ 0 h 59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962" h="59664">
                <a:moveTo>
                  <a:pt x="83963" y="29035"/>
                </a:moveTo>
                <a:lnTo>
                  <a:pt x="45674" y="59665"/>
                </a:lnTo>
                <a:lnTo>
                  <a:pt x="45424" y="40494"/>
                </a:lnTo>
                <a:lnTo>
                  <a:pt x="0" y="40494"/>
                </a:lnTo>
                <a:lnTo>
                  <a:pt x="0" y="18653"/>
                </a:lnTo>
                <a:lnTo>
                  <a:pt x="45176" y="18653"/>
                </a:lnTo>
                <a:lnTo>
                  <a:pt x="44927" y="0"/>
                </a:lnTo>
                <a:close/>
              </a:path>
            </a:pathLst>
          </a:custGeom>
          <a:solidFill>
            <a:srgbClr val="27509F"/>
          </a:solidFill>
          <a:ln w="4146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23" name="Freeform: Shape 322">
            <a:extLst>
              <a:ext uri="{FF2B5EF4-FFF2-40B4-BE49-F238E27FC236}">
                <a16:creationId xmlns:a16="http://schemas.microsoft.com/office/drawing/2014/main" id="{A2CA8EB7-D98D-4D84-B9F3-3C7D63CEFCFA}"/>
              </a:ext>
            </a:extLst>
          </p:cNvPr>
          <p:cNvSpPr/>
          <p:nvPr/>
        </p:nvSpPr>
        <p:spPr>
          <a:xfrm>
            <a:off x="1612634" y="2004545"/>
            <a:ext cx="1396258" cy="1405329"/>
          </a:xfrm>
          <a:custGeom>
            <a:avLst/>
            <a:gdLst>
              <a:gd name="connsiteX0" fmla="*/ 1396259 w 1396258"/>
              <a:gd name="connsiteY0" fmla="*/ 702665 h 1405329"/>
              <a:gd name="connsiteX1" fmla="*/ 698130 w 1396258"/>
              <a:gd name="connsiteY1" fmla="*/ 1405330 h 1405329"/>
              <a:gd name="connsiteX2" fmla="*/ 0 w 1396258"/>
              <a:gd name="connsiteY2" fmla="*/ 702665 h 1405329"/>
              <a:gd name="connsiteX3" fmla="*/ 698130 w 1396258"/>
              <a:gd name="connsiteY3" fmla="*/ 0 h 1405329"/>
              <a:gd name="connsiteX4" fmla="*/ 1396259 w 1396258"/>
              <a:gd name="connsiteY4" fmla="*/ 702665 h 1405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6258" h="1405329">
                <a:moveTo>
                  <a:pt x="1396259" y="702665"/>
                </a:moveTo>
                <a:cubicBezTo>
                  <a:pt x="1396259" y="1090736"/>
                  <a:pt x="1083696" y="1405330"/>
                  <a:pt x="698130" y="1405330"/>
                </a:cubicBezTo>
                <a:cubicBezTo>
                  <a:pt x="312563" y="1405330"/>
                  <a:pt x="0" y="1090736"/>
                  <a:pt x="0" y="702665"/>
                </a:cubicBezTo>
                <a:cubicBezTo>
                  <a:pt x="0" y="314594"/>
                  <a:pt x="312563" y="0"/>
                  <a:pt x="698130" y="0"/>
                </a:cubicBezTo>
                <a:cubicBezTo>
                  <a:pt x="1083696" y="0"/>
                  <a:pt x="1396259" y="314594"/>
                  <a:pt x="1396259" y="702665"/>
                </a:cubicBezTo>
                <a:close/>
              </a:path>
            </a:pathLst>
          </a:custGeom>
          <a:noFill/>
          <a:ln w="16584" cap="flat">
            <a:solidFill>
              <a:srgbClr val="27509B"/>
            </a:solidFill>
            <a:custDash>
              <a:ds d="908055" sp="908055"/>
            </a:custDash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24" name="Freeform: Shape 323">
            <a:extLst>
              <a:ext uri="{FF2B5EF4-FFF2-40B4-BE49-F238E27FC236}">
                <a16:creationId xmlns:a16="http://schemas.microsoft.com/office/drawing/2014/main" id="{3BFA8464-EF20-41B2-8780-FD31A01655EC}"/>
              </a:ext>
            </a:extLst>
          </p:cNvPr>
          <p:cNvSpPr/>
          <p:nvPr/>
        </p:nvSpPr>
        <p:spPr>
          <a:xfrm>
            <a:off x="3924771" y="2040646"/>
            <a:ext cx="1166024" cy="1178991"/>
          </a:xfrm>
          <a:custGeom>
            <a:avLst/>
            <a:gdLst>
              <a:gd name="connsiteX0" fmla="*/ 1166024 w 1166024"/>
              <a:gd name="connsiteY0" fmla="*/ 589496 h 1178991"/>
              <a:gd name="connsiteX1" fmla="*/ 583012 w 1166024"/>
              <a:gd name="connsiteY1" fmla="*/ 1178992 h 1178991"/>
              <a:gd name="connsiteX2" fmla="*/ 0 w 1166024"/>
              <a:gd name="connsiteY2" fmla="*/ 589496 h 1178991"/>
              <a:gd name="connsiteX3" fmla="*/ 583012 w 1166024"/>
              <a:gd name="connsiteY3" fmla="*/ 0 h 1178991"/>
              <a:gd name="connsiteX4" fmla="*/ 1166024 w 1166024"/>
              <a:gd name="connsiteY4" fmla="*/ 589496 h 1178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6024" h="1178991">
                <a:moveTo>
                  <a:pt x="1166024" y="589496"/>
                </a:moveTo>
                <a:cubicBezTo>
                  <a:pt x="1166024" y="915065"/>
                  <a:pt x="905001" y="1178992"/>
                  <a:pt x="583012" y="1178992"/>
                </a:cubicBezTo>
                <a:cubicBezTo>
                  <a:pt x="261023" y="1178992"/>
                  <a:pt x="0" y="915065"/>
                  <a:pt x="0" y="589496"/>
                </a:cubicBezTo>
                <a:cubicBezTo>
                  <a:pt x="0" y="263926"/>
                  <a:pt x="261023" y="0"/>
                  <a:pt x="583012" y="0"/>
                </a:cubicBezTo>
                <a:cubicBezTo>
                  <a:pt x="905001" y="0"/>
                  <a:pt x="1166024" y="263926"/>
                  <a:pt x="1166024" y="589496"/>
                </a:cubicBezTo>
                <a:close/>
              </a:path>
            </a:pathLst>
          </a:custGeom>
          <a:noFill/>
          <a:ln w="16584" cap="flat">
            <a:solidFill>
              <a:srgbClr val="27509B"/>
            </a:solidFill>
            <a:custDash>
              <a:ds d="907830" sp="907830"/>
            </a:custDash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25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4511309" y="2528216"/>
            <a:ext cx="393929" cy="239994"/>
            <a:chOff x="4511309" y="2528216"/>
            <a:chExt cx="393929" cy="239994"/>
          </a:xfrm>
          <a:solidFill>
            <a:schemeClr val="accent1"/>
          </a:solidFill>
        </p:grpSpPr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9681D537-2BE3-44D7-B2CD-3A79528298A9}"/>
                </a:ext>
              </a:extLst>
            </p:cNvPr>
            <p:cNvSpPr/>
            <p:nvPr/>
          </p:nvSpPr>
          <p:spPr>
            <a:xfrm>
              <a:off x="4511309" y="2529164"/>
              <a:ext cx="237494" cy="239046"/>
            </a:xfrm>
            <a:custGeom>
              <a:avLst/>
              <a:gdLst>
                <a:gd name="connsiteX0" fmla="*/ 117482 w 237494"/>
                <a:gd name="connsiteY0" fmla="*/ 239046 h 239046"/>
                <a:gd name="connsiteX1" fmla="*/ 0 w 237494"/>
                <a:gd name="connsiteY1" fmla="*/ 120579 h 239046"/>
                <a:gd name="connsiteX2" fmla="*/ 120054 w 237494"/>
                <a:gd name="connsiteY2" fmla="*/ 0 h 239046"/>
                <a:gd name="connsiteX3" fmla="*/ 237494 w 237494"/>
                <a:gd name="connsiteY3" fmla="*/ 118468 h 239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7494" h="239046">
                  <a:moveTo>
                    <a:pt x="117482" y="239046"/>
                  </a:moveTo>
                  <a:lnTo>
                    <a:pt x="0" y="120579"/>
                  </a:lnTo>
                  <a:lnTo>
                    <a:pt x="120054" y="0"/>
                  </a:lnTo>
                  <a:lnTo>
                    <a:pt x="237494" y="118468"/>
                  </a:lnTo>
                  <a:close/>
                </a:path>
              </a:pathLst>
            </a:custGeom>
            <a:solidFill>
              <a:srgbClr val="9CBC59"/>
            </a:solidFill>
            <a:ln w="1243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0D493C4B-C6E5-44C3-9196-49ED08320342}"/>
                </a:ext>
              </a:extLst>
            </p:cNvPr>
            <p:cNvSpPr/>
            <p:nvPr/>
          </p:nvSpPr>
          <p:spPr>
            <a:xfrm>
              <a:off x="4571585" y="2534807"/>
              <a:ext cx="225297" cy="226768"/>
            </a:xfrm>
            <a:custGeom>
              <a:avLst/>
              <a:gdLst>
                <a:gd name="connsiteX0" fmla="*/ 111425 w 225297"/>
                <a:gd name="connsiteY0" fmla="*/ 226769 h 226768"/>
                <a:gd name="connsiteX1" fmla="*/ 0 w 225297"/>
                <a:gd name="connsiteY1" fmla="*/ 114418 h 226768"/>
                <a:gd name="connsiteX2" fmla="*/ 113873 w 225297"/>
                <a:gd name="connsiteY2" fmla="*/ 0 h 226768"/>
                <a:gd name="connsiteX3" fmla="*/ 225298 w 225297"/>
                <a:gd name="connsiteY3" fmla="*/ 112394 h 22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297" h="226768">
                  <a:moveTo>
                    <a:pt x="111425" y="226769"/>
                  </a:moveTo>
                  <a:lnTo>
                    <a:pt x="0" y="114418"/>
                  </a:lnTo>
                  <a:lnTo>
                    <a:pt x="113873" y="0"/>
                  </a:lnTo>
                  <a:lnTo>
                    <a:pt x="225298" y="112394"/>
                  </a:lnTo>
                  <a:close/>
                </a:path>
              </a:pathLst>
            </a:custGeom>
            <a:solidFill>
              <a:srgbClr val="2AADE4"/>
            </a:solidFill>
            <a:ln w="1243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2B312D52-4953-494E-99BB-1D5400B4D5AE}"/>
                </a:ext>
              </a:extLst>
            </p:cNvPr>
            <p:cNvSpPr/>
            <p:nvPr/>
          </p:nvSpPr>
          <p:spPr>
            <a:xfrm>
              <a:off x="4619664" y="2528216"/>
              <a:ext cx="237494" cy="239003"/>
            </a:xfrm>
            <a:custGeom>
              <a:avLst/>
              <a:gdLst>
                <a:gd name="connsiteX0" fmla="*/ 117441 w 237494"/>
                <a:gd name="connsiteY0" fmla="*/ 239003 h 239003"/>
                <a:gd name="connsiteX1" fmla="*/ 0 w 237494"/>
                <a:gd name="connsiteY1" fmla="*/ 120579 h 239003"/>
                <a:gd name="connsiteX2" fmla="*/ 120013 w 237494"/>
                <a:gd name="connsiteY2" fmla="*/ 0 h 239003"/>
                <a:gd name="connsiteX3" fmla="*/ 237494 w 237494"/>
                <a:gd name="connsiteY3" fmla="*/ 118425 h 239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7494" h="239003">
                  <a:moveTo>
                    <a:pt x="117441" y="239003"/>
                  </a:moveTo>
                  <a:lnTo>
                    <a:pt x="0" y="120579"/>
                  </a:lnTo>
                  <a:lnTo>
                    <a:pt x="120013" y="0"/>
                  </a:lnTo>
                  <a:lnTo>
                    <a:pt x="237494" y="118425"/>
                  </a:lnTo>
                  <a:close/>
                </a:path>
              </a:pathLst>
            </a:custGeom>
            <a:solidFill>
              <a:srgbClr val="8165A3"/>
            </a:solidFill>
            <a:ln w="1243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9560CF0E-2F90-4444-BD2A-A061A70F89C8}"/>
                </a:ext>
              </a:extLst>
            </p:cNvPr>
            <p:cNvSpPr/>
            <p:nvPr/>
          </p:nvSpPr>
          <p:spPr>
            <a:xfrm>
              <a:off x="4679940" y="2533859"/>
              <a:ext cx="225297" cy="226725"/>
            </a:xfrm>
            <a:custGeom>
              <a:avLst/>
              <a:gdLst>
                <a:gd name="connsiteX0" fmla="*/ 111425 w 225297"/>
                <a:gd name="connsiteY0" fmla="*/ 226726 h 226725"/>
                <a:gd name="connsiteX1" fmla="*/ 0 w 225297"/>
                <a:gd name="connsiteY1" fmla="*/ 114375 h 226725"/>
                <a:gd name="connsiteX2" fmla="*/ 113831 w 225297"/>
                <a:gd name="connsiteY2" fmla="*/ 0 h 226725"/>
                <a:gd name="connsiteX3" fmla="*/ 225298 w 225297"/>
                <a:gd name="connsiteY3" fmla="*/ 112350 h 226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297" h="226725">
                  <a:moveTo>
                    <a:pt x="111425" y="226726"/>
                  </a:moveTo>
                  <a:lnTo>
                    <a:pt x="0" y="114375"/>
                  </a:lnTo>
                  <a:lnTo>
                    <a:pt x="113831" y="0"/>
                  </a:lnTo>
                  <a:lnTo>
                    <a:pt x="225298" y="112350"/>
                  </a:lnTo>
                  <a:close/>
                </a:path>
              </a:pathLst>
            </a:custGeom>
            <a:solidFill>
              <a:srgbClr val="F4981A"/>
            </a:solidFill>
            <a:ln w="1243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30" name="Freeform: Shape 329">
            <a:extLst>
              <a:ext uri="{FF2B5EF4-FFF2-40B4-BE49-F238E27FC236}">
                <a16:creationId xmlns:a16="http://schemas.microsoft.com/office/drawing/2014/main" id="{C840F99C-0744-4001-9E7D-B504392686E6}"/>
              </a:ext>
            </a:extLst>
          </p:cNvPr>
          <p:cNvSpPr/>
          <p:nvPr/>
        </p:nvSpPr>
        <p:spPr>
          <a:xfrm>
            <a:off x="3889426" y="2827918"/>
            <a:ext cx="1556966" cy="125145"/>
          </a:xfrm>
          <a:custGeom>
            <a:avLst/>
            <a:gdLst>
              <a:gd name="connsiteX0" fmla="*/ 0 w 1556966"/>
              <a:gd name="connsiteY0" fmla="*/ 0 h 125145"/>
              <a:gd name="connsiteX1" fmla="*/ 1556967 w 1556966"/>
              <a:gd name="connsiteY1" fmla="*/ 0 h 125145"/>
              <a:gd name="connsiteX2" fmla="*/ 1556967 w 1556966"/>
              <a:gd name="connsiteY2" fmla="*/ 125145 h 125145"/>
              <a:gd name="connsiteX3" fmla="*/ 0 w 1556966"/>
              <a:gd name="connsiteY3" fmla="*/ 125145 h 125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56966" h="125145">
                <a:moveTo>
                  <a:pt x="0" y="0"/>
                </a:moveTo>
                <a:lnTo>
                  <a:pt x="1556967" y="0"/>
                </a:lnTo>
                <a:lnTo>
                  <a:pt x="1556967" y="125145"/>
                </a:lnTo>
                <a:lnTo>
                  <a:pt x="0" y="125145"/>
                </a:lnTo>
                <a:close/>
              </a:path>
            </a:pathLst>
          </a:custGeom>
          <a:noFill/>
          <a:ln w="414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31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4044991" y="2509175"/>
            <a:ext cx="290012" cy="295178"/>
            <a:chOff x="4044991" y="2509175"/>
            <a:chExt cx="290012" cy="295178"/>
          </a:xfrm>
          <a:solidFill>
            <a:schemeClr val="accent1"/>
          </a:solidFill>
        </p:grpSpPr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D19B8C80-51B2-4ABC-BFF6-0B63BAAB5966}"/>
                </a:ext>
              </a:extLst>
            </p:cNvPr>
            <p:cNvSpPr/>
            <p:nvPr/>
          </p:nvSpPr>
          <p:spPr>
            <a:xfrm>
              <a:off x="4044991" y="2509175"/>
              <a:ext cx="290012" cy="295178"/>
            </a:xfrm>
            <a:custGeom>
              <a:avLst/>
              <a:gdLst>
                <a:gd name="connsiteX0" fmla="*/ 145027 w 290012"/>
                <a:gd name="connsiteY0" fmla="*/ 295179 h 295178"/>
                <a:gd name="connsiteX1" fmla="*/ 0 w 290012"/>
                <a:gd name="connsiteY1" fmla="*/ 147589 h 295178"/>
                <a:gd name="connsiteX2" fmla="*/ 145027 w 290012"/>
                <a:gd name="connsiteY2" fmla="*/ 0 h 295178"/>
                <a:gd name="connsiteX3" fmla="*/ 290013 w 290012"/>
                <a:gd name="connsiteY3" fmla="*/ 147589 h 295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012" h="295178">
                  <a:moveTo>
                    <a:pt x="145027" y="295179"/>
                  </a:moveTo>
                  <a:lnTo>
                    <a:pt x="0" y="147589"/>
                  </a:lnTo>
                  <a:lnTo>
                    <a:pt x="145027" y="0"/>
                  </a:lnTo>
                  <a:lnTo>
                    <a:pt x="290013" y="147589"/>
                  </a:lnTo>
                  <a:close/>
                </a:path>
              </a:pathLst>
            </a:custGeom>
            <a:solidFill>
              <a:srgbClr val="1B9DD9"/>
            </a:solidFill>
            <a:ln w="2073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9FBF6E57-BBF7-4431-AD1C-A93BFBE140BE}"/>
                </a:ext>
              </a:extLst>
            </p:cNvPr>
            <p:cNvSpPr/>
            <p:nvPr/>
          </p:nvSpPr>
          <p:spPr>
            <a:xfrm>
              <a:off x="4153263" y="2606362"/>
              <a:ext cx="73467" cy="100848"/>
            </a:xfrm>
            <a:custGeom>
              <a:avLst/>
              <a:gdLst>
                <a:gd name="connsiteX0" fmla="*/ 47333 w 73467"/>
                <a:gd name="connsiteY0" fmla="*/ 69702 h 100848"/>
                <a:gd name="connsiteX1" fmla="*/ 22069 w 73467"/>
                <a:gd name="connsiteY1" fmla="*/ 69702 h 100848"/>
                <a:gd name="connsiteX2" fmla="*/ 22069 w 73467"/>
                <a:gd name="connsiteY2" fmla="*/ 67117 h 100848"/>
                <a:gd name="connsiteX3" fmla="*/ 23521 w 73467"/>
                <a:gd name="connsiteY3" fmla="*/ 56477 h 100848"/>
                <a:gd name="connsiteX4" fmla="*/ 27877 w 73467"/>
                <a:gd name="connsiteY4" fmla="*/ 48981 h 100848"/>
                <a:gd name="connsiteX5" fmla="*/ 40861 w 73467"/>
                <a:gd name="connsiteY5" fmla="*/ 37091 h 100848"/>
                <a:gd name="connsiteX6" fmla="*/ 46254 w 73467"/>
                <a:gd name="connsiteY6" fmla="*/ 28906 h 100848"/>
                <a:gd name="connsiteX7" fmla="*/ 44097 w 73467"/>
                <a:gd name="connsiteY7" fmla="*/ 23134 h 100848"/>
                <a:gd name="connsiteX8" fmla="*/ 37543 w 73467"/>
                <a:gd name="connsiteY8" fmla="*/ 21066 h 100848"/>
                <a:gd name="connsiteX9" fmla="*/ 29744 w 73467"/>
                <a:gd name="connsiteY9" fmla="*/ 24254 h 100848"/>
                <a:gd name="connsiteX10" fmla="*/ 25803 w 73467"/>
                <a:gd name="connsiteY10" fmla="*/ 35368 h 100848"/>
                <a:gd name="connsiteX11" fmla="*/ 0 w 73467"/>
                <a:gd name="connsiteY11" fmla="*/ 32137 h 100848"/>
                <a:gd name="connsiteX12" fmla="*/ 10329 w 73467"/>
                <a:gd name="connsiteY12" fmla="*/ 8831 h 100848"/>
                <a:gd name="connsiteX13" fmla="*/ 37958 w 73467"/>
                <a:gd name="connsiteY13" fmla="*/ 0 h 100848"/>
                <a:gd name="connsiteX14" fmla="*/ 61354 w 73467"/>
                <a:gd name="connsiteY14" fmla="*/ 6160 h 100848"/>
                <a:gd name="connsiteX15" fmla="*/ 73468 w 73467"/>
                <a:gd name="connsiteY15" fmla="*/ 28346 h 100848"/>
                <a:gd name="connsiteX16" fmla="*/ 70356 w 73467"/>
                <a:gd name="connsiteY16" fmla="*/ 39461 h 100848"/>
                <a:gd name="connsiteX17" fmla="*/ 57579 w 73467"/>
                <a:gd name="connsiteY17" fmla="*/ 52514 h 100848"/>
                <a:gd name="connsiteX18" fmla="*/ 49117 w 73467"/>
                <a:gd name="connsiteY18" fmla="*/ 61216 h 100848"/>
                <a:gd name="connsiteX19" fmla="*/ 47333 w 73467"/>
                <a:gd name="connsiteY19" fmla="*/ 69702 h 100848"/>
                <a:gd name="connsiteX20" fmla="*/ 21240 w 73467"/>
                <a:gd name="connsiteY20" fmla="*/ 76552 h 100848"/>
                <a:gd name="connsiteX21" fmla="*/ 48287 w 73467"/>
                <a:gd name="connsiteY21" fmla="*/ 76552 h 100848"/>
                <a:gd name="connsiteX22" fmla="*/ 48287 w 73467"/>
                <a:gd name="connsiteY22" fmla="*/ 100848 h 100848"/>
                <a:gd name="connsiteX23" fmla="*/ 21240 w 73467"/>
                <a:gd name="connsiteY23" fmla="*/ 100848 h 100848"/>
                <a:gd name="connsiteX24" fmla="*/ 21240 w 73467"/>
                <a:gd name="connsiteY24" fmla="*/ 76552 h 100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3467" h="100848">
                  <a:moveTo>
                    <a:pt x="47333" y="69702"/>
                  </a:moveTo>
                  <a:lnTo>
                    <a:pt x="22069" y="69702"/>
                  </a:lnTo>
                  <a:lnTo>
                    <a:pt x="22069" y="67117"/>
                  </a:lnTo>
                  <a:cubicBezTo>
                    <a:pt x="22069" y="62766"/>
                    <a:pt x="22567" y="59191"/>
                    <a:pt x="23521" y="56477"/>
                  </a:cubicBezTo>
                  <a:cubicBezTo>
                    <a:pt x="24475" y="53763"/>
                    <a:pt x="25969" y="51264"/>
                    <a:pt x="27877" y="48981"/>
                  </a:cubicBezTo>
                  <a:cubicBezTo>
                    <a:pt x="29785" y="46741"/>
                    <a:pt x="34141" y="42778"/>
                    <a:pt x="40861" y="37091"/>
                  </a:cubicBezTo>
                  <a:cubicBezTo>
                    <a:pt x="44471" y="34119"/>
                    <a:pt x="46254" y="31405"/>
                    <a:pt x="46254" y="28906"/>
                  </a:cubicBezTo>
                  <a:cubicBezTo>
                    <a:pt x="46254" y="26408"/>
                    <a:pt x="45549" y="24512"/>
                    <a:pt x="44097" y="23134"/>
                  </a:cubicBezTo>
                  <a:cubicBezTo>
                    <a:pt x="42645" y="21755"/>
                    <a:pt x="40488" y="21066"/>
                    <a:pt x="37543" y="21066"/>
                  </a:cubicBezTo>
                  <a:cubicBezTo>
                    <a:pt x="34390" y="21066"/>
                    <a:pt x="31776" y="22143"/>
                    <a:pt x="29744" y="24254"/>
                  </a:cubicBezTo>
                  <a:cubicBezTo>
                    <a:pt x="27670" y="26365"/>
                    <a:pt x="26384" y="30069"/>
                    <a:pt x="25803" y="35368"/>
                  </a:cubicBezTo>
                  <a:lnTo>
                    <a:pt x="0" y="32137"/>
                  </a:lnTo>
                  <a:cubicBezTo>
                    <a:pt x="871" y="22487"/>
                    <a:pt x="4314" y="14733"/>
                    <a:pt x="10329" y="8831"/>
                  </a:cubicBezTo>
                  <a:cubicBezTo>
                    <a:pt x="16345" y="2929"/>
                    <a:pt x="25554" y="0"/>
                    <a:pt x="37958" y="0"/>
                  </a:cubicBezTo>
                  <a:cubicBezTo>
                    <a:pt x="47623" y="0"/>
                    <a:pt x="55422" y="2068"/>
                    <a:pt x="61354" y="6160"/>
                  </a:cubicBezTo>
                  <a:cubicBezTo>
                    <a:pt x="69402" y="11718"/>
                    <a:pt x="73468" y="19127"/>
                    <a:pt x="73468" y="28346"/>
                  </a:cubicBezTo>
                  <a:cubicBezTo>
                    <a:pt x="73468" y="32180"/>
                    <a:pt x="72431" y="35885"/>
                    <a:pt x="70356" y="39461"/>
                  </a:cubicBezTo>
                  <a:cubicBezTo>
                    <a:pt x="68282" y="43036"/>
                    <a:pt x="64009" y="47387"/>
                    <a:pt x="57579" y="52514"/>
                  </a:cubicBezTo>
                  <a:cubicBezTo>
                    <a:pt x="53099" y="56132"/>
                    <a:pt x="50278" y="59019"/>
                    <a:pt x="49117" y="61216"/>
                  </a:cubicBezTo>
                  <a:cubicBezTo>
                    <a:pt x="47914" y="63326"/>
                    <a:pt x="47333" y="66213"/>
                    <a:pt x="47333" y="69702"/>
                  </a:cubicBezTo>
                  <a:close/>
                  <a:moveTo>
                    <a:pt x="21240" y="76552"/>
                  </a:moveTo>
                  <a:lnTo>
                    <a:pt x="48287" y="76552"/>
                  </a:lnTo>
                  <a:lnTo>
                    <a:pt x="48287" y="100848"/>
                  </a:lnTo>
                  <a:lnTo>
                    <a:pt x="21240" y="100848"/>
                  </a:lnTo>
                  <a:lnTo>
                    <a:pt x="21240" y="76552"/>
                  </a:lnTo>
                  <a:close/>
                </a:path>
              </a:pathLst>
            </a:custGeom>
            <a:solidFill>
              <a:srgbClr val="FFFFFF"/>
            </a:solidFill>
            <a:ln w="4146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34" name="Freeform: Shape 333">
            <a:extLst>
              <a:ext uri="{FF2B5EF4-FFF2-40B4-BE49-F238E27FC236}">
                <a16:creationId xmlns:a16="http://schemas.microsoft.com/office/drawing/2014/main" id="{C81BE962-3108-4C54-94A2-A3A8413E44AE}"/>
              </a:ext>
            </a:extLst>
          </p:cNvPr>
          <p:cNvSpPr/>
          <p:nvPr/>
        </p:nvSpPr>
        <p:spPr>
          <a:xfrm>
            <a:off x="4385779" y="2619846"/>
            <a:ext cx="83962" cy="59664"/>
          </a:xfrm>
          <a:custGeom>
            <a:avLst/>
            <a:gdLst>
              <a:gd name="connsiteX0" fmla="*/ 83963 w 83962"/>
              <a:gd name="connsiteY0" fmla="*/ 28992 h 59664"/>
              <a:gd name="connsiteX1" fmla="*/ 45674 w 83962"/>
              <a:gd name="connsiteY1" fmla="*/ 59665 h 59664"/>
              <a:gd name="connsiteX2" fmla="*/ 45425 w 83962"/>
              <a:gd name="connsiteY2" fmla="*/ 40451 h 59664"/>
              <a:gd name="connsiteX3" fmla="*/ 0 w 83962"/>
              <a:gd name="connsiteY3" fmla="*/ 40451 h 59664"/>
              <a:gd name="connsiteX4" fmla="*/ 0 w 83962"/>
              <a:gd name="connsiteY4" fmla="*/ 18653 h 59664"/>
              <a:gd name="connsiteX5" fmla="*/ 45176 w 83962"/>
              <a:gd name="connsiteY5" fmla="*/ 18653 h 59664"/>
              <a:gd name="connsiteX6" fmla="*/ 44927 w 83962"/>
              <a:gd name="connsiteY6" fmla="*/ 0 h 59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962" h="59664">
                <a:moveTo>
                  <a:pt x="83963" y="28992"/>
                </a:moveTo>
                <a:lnTo>
                  <a:pt x="45674" y="59665"/>
                </a:lnTo>
                <a:lnTo>
                  <a:pt x="45425" y="40451"/>
                </a:lnTo>
                <a:lnTo>
                  <a:pt x="0" y="40451"/>
                </a:lnTo>
                <a:lnTo>
                  <a:pt x="0" y="18653"/>
                </a:lnTo>
                <a:lnTo>
                  <a:pt x="45176" y="18653"/>
                </a:lnTo>
                <a:lnTo>
                  <a:pt x="44927" y="0"/>
                </a:lnTo>
                <a:close/>
              </a:path>
            </a:pathLst>
          </a:custGeom>
          <a:solidFill>
            <a:srgbClr val="27509F"/>
          </a:solidFill>
          <a:ln w="4146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35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2064268" y="2496036"/>
            <a:ext cx="495191" cy="301425"/>
            <a:chOff x="2064268" y="2496036"/>
            <a:chExt cx="495191" cy="301425"/>
          </a:xfrm>
          <a:solidFill>
            <a:schemeClr val="accent1"/>
          </a:solidFill>
        </p:grpSpPr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9C85C55B-2AA5-4696-ADC3-09C571A687DE}"/>
                </a:ext>
              </a:extLst>
            </p:cNvPr>
            <p:cNvSpPr/>
            <p:nvPr/>
          </p:nvSpPr>
          <p:spPr>
            <a:xfrm>
              <a:off x="2064268" y="2496036"/>
              <a:ext cx="298558" cy="300520"/>
            </a:xfrm>
            <a:custGeom>
              <a:avLst/>
              <a:gdLst>
                <a:gd name="connsiteX0" fmla="*/ 150378 w 298558"/>
                <a:gd name="connsiteY0" fmla="*/ 300521 h 300520"/>
                <a:gd name="connsiteX1" fmla="*/ 0 w 298558"/>
                <a:gd name="connsiteY1" fmla="*/ 149226 h 300520"/>
                <a:gd name="connsiteX2" fmla="*/ 148138 w 298558"/>
                <a:gd name="connsiteY2" fmla="*/ 0 h 300520"/>
                <a:gd name="connsiteX3" fmla="*/ 298558 w 298558"/>
                <a:gd name="connsiteY3" fmla="*/ 151294 h 300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558" h="300520">
                  <a:moveTo>
                    <a:pt x="150378" y="300521"/>
                  </a:moveTo>
                  <a:lnTo>
                    <a:pt x="0" y="149226"/>
                  </a:lnTo>
                  <a:lnTo>
                    <a:pt x="148138" y="0"/>
                  </a:lnTo>
                  <a:lnTo>
                    <a:pt x="298558" y="151294"/>
                  </a:lnTo>
                  <a:close/>
                </a:path>
              </a:pathLst>
            </a:custGeom>
            <a:solidFill>
              <a:srgbClr val="9CBC59"/>
            </a:solidFill>
            <a:ln w="1243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790EF21E-4BAE-4E97-82BF-B1B46C09C260}"/>
                </a:ext>
              </a:extLst>
            </p:cNvPr>
            <p:cNvSpPr/>
            <p:nvPr/>
          </p:nvSpPr>
          <p:spPr>
            <a:xfrm>
              <a:off x="2140017" y="2504221"/>
              <a:ext cx="283250" cy="285055"/>
            </a:xfrm>
            <a:custGeom>
              <a:avLst/>
              <a:gdLst>
                <a:gd name="connsiteX0" fmla="*/ 142663 w 283250"/>
                <a:gd name="connsiteY0" fmla="*/ 285055 h 285055"/>
                <a:gd name="connsiteX1" fmla="*/ 0 w 283250"/>
                <a:gd name="connsiteY1" fmla="*/ 141558 h 285055"/>
                <a:gd name="connsiteX2" fmla="*/ 140547 w 283250"/>
                <a:gd name="connsiteY2" fmla="*/ 0 h 285055"/>
                <a:gd name="connsiteX3" fmla="*/ 283251 w 283250"/>
                <a:gd name="connsiteY3" fmla="*/ 143497 h 2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250" h="285055">
                  <a:moveTo>
                    <a:pt x="142663" y="285055"/>
                  </a:moveTo>
                  <a:lnTo>
                    <a:pt x="0" y="141558"/>
                  </a:lnTo>
                  <a:lnTo>
                    <a:pt x="140547" y="0"/>
                  </a:lnTo>
                  <a:lnTo>
                    <a:pt x="283251" y="143497"/>
                  </a:lnTo>
                  <a:close/>
                </a:path>
              </a:pathLst>
            </a:custGeom>
            <a:solidFill>
              <a:srgbClr val="2AADE4"/>
            </a:solidFill>
            <a:ln w="1243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024A04B0-432B-46C6-B286-F3C4230D6404}"/>
                </a:ext>
              </a:extLst>
            </p:cNvPr>
            <p:cNvSpPr/>
            <p:nvPr/>
          </p:nvSpPr>
          <p:spPr>
            <a:xfrm>
              <a:off x="2200459" y="2496984"/>
              <a:ext cx="298558" cy="300477"/>
            </a:xfrm>
            <a:custGeom>
              <a:avLst/>
              <a:gdLst>
                <a:gd name="connsiteX0" fmla="*/ 150378 w 298558"/>
                <a:gd name="connsiteY0" fmla="*/ 300477 h 300477"/>
                <a:gd name="connsiteX1" fmla="*/ 0 w 298558"/>
                <a:gd name="connsiteY1" fmla="*/ 149226 h 300477"/>
                <a:gd name="connsiteX2" fmla="*/ 148180 w 298558"/>
                <a:gd name="connsiteY2" fmla="*/ 0 h 300477"/>
                <a:gd name="connsiteX3" fmla="*/ 298558 w 298558"/>
                <a:gd name="connsiteY3" fmla="*/ 151251 h 30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558" h="300477">
                  <a:moveTo>
                    <a:pt x="150378" y="300477"/>
                  </a:moveTo>
                  <a:lnTo>
                    <a:pt x="0" y="149226"/>
                  </a:lnTo>
                  <a:lnTo>
                    <a:pt x="148180" y="0"/>
                  </a:lnTo>
                  <a:lnTo>
                    <a:pt x="298558" y="151251"/>
                  </a:lnTo>
                  <a:close/>
                </a:path>
              </a:pathLst>
            </a:custGeom>
            <a:solidFill>
              <a:srgbClr val="8165A3"/>
            </a:solidFill>
            <a:ln w="1243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4DF88EC6-8FBD-4775-B93C-A80ECAC6A35B}"/>
                </a:ext>
              </a:extLst>
            </p:cNvPr>
            <p:cNvSpPr/>
            <p:nvPr/>
          </p:nvSpPr>
          <p:spPr>
            <a:xfrm>
              <a:off x="2276208" y="2505169"/>
              <a:ext cx="283250" cy="285055"/>
            </a:xfrm>
            <a:custGeom>
              <a:avLst/>
              <a:gdLst>
                <a:gd name="connsiteX0" fmla="*/ 142704 w 283250"/>
                <a:gd name="connsiteY0" fmla="*/ 285055 h 285055"/>
                <a:gd name="connsiteX1" fmla="*/ 0 w 283250"/>
                <a:gd name="connsiteY1" fmla="*/ 141558 h 285055"/>
                <a:gd name="connsiteX2" fmla="*/ 140588 w 283250"/>
                <a:gd name="connsiteY2" fmla="*/ 0 h 285055"/>
                <a:gd name="connsiteX3" fmla="*/ 283251 w 283250"/>
                <a:gd name="connsiteY3" fmla="*/ 143497 h 28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250" h="285055">
                  <a:moveTo>
                    <a:pt x="142704" y="285055"/>
                  </a:moveTo>
                  <a:lnTo>
                    <a:pt x="0" y="141558"/>
                  </a:lnTo>
                  <a:lnTo>
                    <a:pt x="140588" y="0"/>
                  </a:lnTo>
                  <a:lnTo>
                    <a:pt x="283251" y="143497"/>
                  </a:lnTo>
                  <a:close/>
                </a:path>
              </a:pathLst>
            </a:custGeom>
            <a:solidFill>
              <a:srgbClr val="F4981A"/>
            </a:solidFill>
            <a:ln w="12438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40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592757" y="2530284"/>
            <a:ext cx="1406505" cy="258087"/>
            <a:chOff x="592757" y="2530284"/>
            <a:chExt cx="1406505" cy="258087"/>
          </a:xfrm>
          <a:solidFill>
            <a:schemeClr val="accent1"/>
          </a:solidFill>
        </p:grpSpPr>
        <p:grpSp>
          <p:nvGrpSpPr>
            <p:cNvPr id="341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608480" y="2530284"/>
              <a:ext cx="1390782" cy="199671"/>
              <a:chOff x="608480" y="2530284"/>
              <a:chExt cx="1390782" cy="199671"/>
            </a:xfrm>
            <a:solidFill>
              <a:schemeClr val="accent1"/>
            </a:solidFill>
          </p:grpSpPr>
          <p:grpSp>
            <p:nvGrpSpPr>
              <p:cNvPr id="342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608480" y="2530284"/>
                <a:ext cx="1390782" cy="199671"/>
                <a:chOff x="608480" y="2530284"/>
                <a:chExt cx="1390782" cy="199671"/>
              </a:xfrm>
              <a:solidFill>
                <a:srgbClr val="27509B"/>
              </a:solidFill>
            </p:grpSpPr>
            <p:sp>
              <p:nvSpPr>
                <p:cNvPr id="343" name="Freeform: Shape 342">
                  <a:extLst>
                    <a:ext uri="{FF2B5EF4-FFF2-40B4-BE49-F238E27FC236}">
                      <a16:creationId xmlns:a16="http://schemas.microsoft.com/office/drawing/2014/main" id="{2226A8EE-33EA-4D49-89B3-F1D319A1DA0A}"/>
                    </a:ext>
                  </a:extLst>
                </p:cNvPr>
                <p:cNvSpPr/>
                <p:nvPr/>
              </p:nvSpPr>
              <p:spPr>
                <a:xfrm>
                  <a:off x="1660050" y="2530284"/>
                  <a:ext cx="339212" cy="199671"/>
                </a:xfrm>
                <a:custGeom>
                  <a:avLst/>
                  <a:gdLst>
                    <a:gd name="connsiteX0" fmla="*/ 310796 w 339212"/>
                    <a:gd name="connsiteY0" fmla="*/ 199672 h 199671"/>
                    <a:gd name="connsiteX1" fmla="*/ 0 w 339212"/>
                    <a:gd name="connsiteY1" fmla="*/ 199672 h 199671"/>
                    <a:gd name="connsiteX2" fmla="*/ 28416 w 339212"/>
                    <a:gd name="connsiteY2" fmla="*/ 99254 h 199671"/>
                    <a:gd name="connsiteX3" fmla="*/ 0 w 339212"/>
                    <a:gd name="connsiteY3" fmla="*/ 0 h 199671"/>
                    <a:gd name="connsiteX4" fmla="*/ 310796 w 339212"/>
                    <a:gd name="connsiteY4" fmla="*/ 0 h 199671"/>
                    <a:gd name="connsiteX5" fmla="*/ 339212 w 339212"/>
                    <a:gd name="connsiteY5" fmla="*/ 99254 h 199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9212" h="199671">
                      <a:moveTo>
                        <a:pt x="310796" y="199672"/>
                      </a:moveTo>
                      <a:lnTo>
                        <a:pt x="0" y="199672"/>
                      </a:lnTo>
                      <a:lnTo>
                        <a:pt x="28416" y="99254"/>
                      </a:lnTo>
                      <a:lnTo>
                        <a:pt x="0" y="0"/>
                      </a:lnTo>
                      <a:lnTo>
                        <a:pt x="310796" y="0"/>
                      </a:lnTo>
                      <a:lnTo>
                        <a:pt x="339212" y="99254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829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4" name="Freeform: Shape 343">
                  <a:extLst>
                    <a:ext uri="{FF2B5EF4-FFF2-40B4-BE49-F238E27FC236}">
                      <a16:creationId xmlns:a16="http://schemas.microsoft.com/office/drawing/2014/main" id="{D1EFD5E8-72D0-46D3-A39B-C24B8F301778}"/>
                    </a:ext>
                  </a:extLst>
                </p:cNvPr>
                <p:cNvSpPr/>
                <p:nvPr/>
              </p:nvSpPr>
              <p:spPr>
                <a:xfrm>
                  <a:off x="958810" y="2530284"/>
                  <a:ext cx="339502" cy="199671"/>
                </a:xfrm>
                <a:custGeom>
                  <a:avLst/>
                  <a:gdLst>
                    <a:gd name="connsiteX0" fmla="*/ 311086 w 339502"/>
                    <a:gd name="connsiteY0" fmla="*/ 199672 h 199671"/>
                    <a:gd name="connsiteX1" fmla="*/ 0 w 339502"/>
                    <a:gd name="connsiteY1" fmla="*/ 199672 h 199671"/>
                    <a:gd name="connsiteX2" fmla="*/ 28416 w 339502"/>
                    <a:gd name="connsiteY2" fmla="*/ 99254 h 199671"/>
                    <a:gd name="connsiteX3" fmla="*/ 0 w 339502"/>
                    <a:gd name="connsiteY3" fmla="*/ 0 h 199671"/>
                    <a:gd name="connsiteX4" fmla="*/ 311086 w 339502"/>
                    <a:gd name="connsiteY4" fmla="*/ 0 h 199671"/>
                    <a:gd name="connsiteX5" fmla="*/ 339503 w 339502"/>
                    <a:gd name="connsiteY5" fmla="*/ 99254 h 199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9502" h="199671">
                      <a:moveTo>
                        <a:pt x="311086" y="199672"/>
                      </a:moveTo>
                      <a:lnTo>
                        <a:pt x="0" y="199672"/>
                      </a:lnTo>
                      <a:lnTo>
                        <a:pt x="28416" y="99254"/>
                      </a:lnTo>
                      <a:lnTo>
                        <a:pt x="0" y="0"/>
                      </a:lnTo>
                      <a:lnTo>
                        <a:pt x="311086" y="0"/>
                      </a:lnTo>
                      <a:lnTo>
                        <a:pt x="339503" y="99254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829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5" name="Freeform: Shape 344">
                  <a:extLst>
                    <a:ext uri="{FF2B5EF4-FFF2-40B4-BE49-F238E27FC236}">
                      <a16:creationId xmlns:a16="http://schemas.microsoft.com/office/drawing/2014/main" id="{43FCDBE7-03D9-4E59-B31A-A13D539E7FE4}"/>
                    </a:ext>
                  </a:extLst>
                </p:cNvPr>
                <p:cNvSpPr/>
                <p:nvPr/>
              </p:nvSpPr>
              <p:spPr>
                <a:xfrm>
                  <a:off x="608480" y="2530284"/>
                  <a:ext cx="339212" cy="199671"/>
                </a:xfrm>
                <a:custGeom>
                  <a:avLst/>
                  <a:gdLst>
                    <a:gd name="connsiteX0" fmla="*/ 310796 w 339212"/>
                    <a:gd name="connsiteY0" fmla="*/ 199672 h 199671"/>
                    <a:gd name="connsiteX1" fmla="*/ 0 w 339212"/>
                    <a:gd name="connsiteY1" fmla="*/ 199672 h 199671"/>
                    <a:gd name="connsiteX2" fmla="*/ 28416 w 339212"/>
                    <a:gd name="connsiteY2" fmla="*/ 99254 h 199671"/>
                    <a:gd name="connsiteX3" fmla="*/ 0 w 339212"/>
                    <a:gd name="connsiteY3" fmla="*/ 0 h 199671"/>
                    <a:gd name="connsiteX4" fmla="*/ 310796 w 339212"/>
                    <a:gd name="connsiteY4" fmla="*/ 0 h 199671"/>
                    <a:gd name="connsiteX5" fmla="*/ 339212 w 339212"/>
                    <a:gd name="connsiteY5" fmla="*/ 99254 h 199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9212" h="199671">
                      <a:moveTo>
                        <a:pt x="310796" y="199672"/>
                      </a:moveTo>
                      <a:lnTo>
                        <a:pt x="0" y="199672"/>
                      </a:lnTo>
                      <a:lnTo>
                        <a:pt x="28416" y="99254"/>
                      </a:lnTo>
                      <a:lnTo>
                        <a:pt x="0" y="0"/>
                      </a:lnTo>
                      <a:lnTo>
                        <a:pt x="310796" y="0"/>
                      </a:lnTo>
                      <a:lnTo>
                        <a:pt x="339212" y="99254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829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6" name="Freeform: Shape 345">
                  <a:extLst>
                    <a:ext uri="{FF2B5EF4-FFF2-40B4-BE49-F238E27FC236}">
                      <a16:creationId xmlns:a16="http://schemas.microsoft.com/office/drawing/2014/main" id="{24545484-0DBD-471E-87A7-78C9CFA9C339}"/>
                    </a:ext>
                  </a:extLst>
                </p:cNvPr>
                <p:cNvSpPr/>
                <p:nvPr/>
              </p:nvSpPr>
              <p:spPr>
                <a:xfrm>
                  <a:off x="1309430" y="2530284"/>
                  <a:ext cx="339502" cy="199671"/>
                </a:xfrm>
                <a:custGeom>
                  <a:avLst/>
                  <a:gdLst>
                    <a:gd name="connsiteX0" fmla="*/ 311086 w 339502"/>
                    <a:gd name="connsiteY0" fmla="*/ 199672 h 199671"/>
                    <a:gd name="connsiteX1" fmla="*/ 0 w 339502"/>
                    <a:gd name="connsiteY1" fmla="*/ 199672 h 199671"/>
                    <a:gd name="connsiteX2" fmla="*/ 28416 w 339502"/>
                    <a:gd name="connsiteY2" fmla="*/ 99254 h 199671"/>
                    <a:gd name="connsiteX3" fmla="*/ 0 w 339502"/>
                    <a:gd name="connsiteY3" fmla="*/ 0 h 199671"/>
                    <a:gd name="connsiteX4" fmla="*/ 311086 w 339502"/>
                    <a:gd name="connsiteY4" fmla="*/ 0 h 199671"/>
                    <a:gd name="connsiteX5" fmla="*/ 339503 w 339502"/>
                    <a:gd name="connsiteY5" fmla="*/ 99254 h 199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9502" h="199671">
                      <a:moveTo>
                        <a:pt x="311086" y="199672"/>
                      </a:moveTo>
                      <a:lnTo>
                        <a:pt x="0" y="199672"/>
                      </a:lnTo>
                      <a:lnTo>
                        <a:pt x="28416" y="99254"/>
                      </a:lnTo>
                      <a:lnTo>
                        <a:pt x="0" y="0"/>
                      </a:lnTo>
                      <a:lnTo>
                        <a:pt x="311086" y="0"/>
                      </a:lnTo>
                      <a:lnTo>
                        <a:pt x="339503" y="99254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829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47" name="Freeform: Shape 346">
                <a:extLst>
                  <a:ext uri="{FF2B5EF4-FFF2-40B4-BE49-F238E27FC236}">
                    <a16:creationId xmlns:a16="http://schemas.microsoft.com/office/drawing/2014/main" id="{3EBD5F78-090D-42A7-AFDA-30A67E965E2B}"/>
                  </a:ext>
                </a:extLst>
              </p:cNvPr>
              <p:cNvSpPr/>
              <p:nvPr/>
            </p:nvSpPr>
            <p:spPr>
              <a:xfrm>
                <a:off x="709824" y="2587752"/>
                <a:ext cx="136481" cy="88527"/>
              </a:xfrm>
              <a:custGeom>
                <a:avLst/>
                <a:gdLst>
                  <a:gd name="connsiteX0" fmla="*/ 73758 w 136481"/>
                  <a:gd name="connsiteY0" fmla="*/ 57554 h 88527"/>
                  <a:gd name="connsiteX1" fmla="*/ 53307 w 136481"/>
                  <a:gd name="connsiteY1" fmla="*/ 57554 h 88527"/>
                  <a:gd name="connsiteX2" fmla="*/ 42147 w 136481"/>
                  <a:gd name="connsiteY2" fmla="*/ 88528 h 88527"/>
                  <a:gd name="connsiteX3" fmla="*/ 0 w 136481"/>
                  <a:gd name="connsiteY3" fmla="*/ 88528 h 88527"/>
                  <a:gd name="connsiteX4" fmla="*/ 31735 w 136481"/>
                  <a:gd name="connsiteY4" fmla="*/ 0 h 88527"/>
                  <a:gd name="connsiteX5" fmla="*/ 73882 w 136481"/>
                  <a:gd name="connsiteY5" fmla="*/ 0 h 88527"/>
                  <a:gd name="connsiteX6" fmla="*/ 62723 w 136481"/>
                  <a:gd name="connsiteY6" fmla="*/ 30974 h 88527"/>
                  <a:gd name="connsiteX7" fmla="*/ 83175 w 136481"/>
                  <a:gd name="connsiteY7" fmla="*/ 30974 h 88527"/>
                  <a:gd name="connsiteX8" fmla="*/ 94334 w 136481"/>
                  <a:gd name="connsiteY8" fmla="*/ 0 h 88527"/>
                  <a:gd name="connsiteX9" fmla="*/ 136481 w 136481"/>
                  <a:gd name="connsiteY9" fmla="*/ 0 h 88527"/>
                  <a:gd name="connsiteX10" fmla="*/ 104746 w 136481"/>
                  <a:gd name="connsiteY10" fmla="*/ 88528 h 88527"/>
                  <a:gd name="connsiteX11" fmla="*/ 62599 w 136481"/>
                  <a:gd name="connsiteY11" fmla="*/ 88528 h 88527"/>
                  <a:gd name="connsiteX12" fmla="*/ 73758 w 136481"/>
                  <a:gd name="connsiteY12" fmla="*/ 57554 h 88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6481" h="88527">
                    <a:moveTo>
                      <a:pt x="73758" y="57554"/>
                    </a:moveTo>
                    <a:lnTo>
                      <a:pt x="53307" y="57554"/>
                    </a:lnTo>
                    <a:lnTo>
                      <a:pt x="42147" y="88528"/>
                    </a:lnTo>
                    <a:lnTo>
                      <a:pt x="0" y="88528"/>
                    </a:lnTo>
                    <a:lnTo>
                      <a:pt x="31735" y="0"/>
                    </a:lnTo>
                    <a:lnTo>
                      <a:pt x="73882" y="0"/>
                    </a:lnTo>
                    <a:lnTo>
                      <a:pt x="62723" y="30974"/>
                    </a:lnTo>
                    <a:lnTo>
                      <a:pt x="83175" y="30974"/>
                    </a:lnTo>
                    <a:lnTo>
                      <a:pt x="94334" y="0"/>
                    </a:lnTo>
                    <a:lnTo>
                      <a:pt x="136481" y="0"/>
                    </a:lnTo>
                    <a:lnTo>
                      <a:pt x="104746" y="88528"/>
                    </a:lnTo>
                    <a:lnTo>
                      <a:pt x="62599" y="88528"/>
                    </a:lnTo>
                    <a:lnTo>
                      <a:pt x="73758" y="57554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8" name="Freeform: Shape 347">
                <a:extLst>
                  <a:ext uri="{FF2B5EF4-FFF2-40B4-BE49-F238E27FC236}">
                    <a16:creationId xmlns:a16="http://schemas.microsoft.com/office/drawing/2014/main" id="{535EFEAC-1A3A-40D2-828A-612AF98B9275}"/>
                  </a:ext>
                </a:extLst>
              </p:cNvPr>
              <p:cNvSpPr/>
              <p:nvPr/>
            </p:nvSpPr>
            <p:spPr>
              <a:xfrm>
                <a:off x="1083634" y="2587752"/>
                <a:ext cx="125736" cy="88527"/>
              </a:xfrm>
              <a:custGeom>
                <a:avLst/>
                <a:gdLst>
                  <a:gd name="connsiteX0" fmla="*/ 31776 w 125736"/>
                  <a:gd name="connsiteY0" fmla="*/ 0 h 88527"/>
                  <a:gd name="connsiteX1" fmla="*/ 99229 w 125736"/>
                  <a:gd name="connsiteY1" fmla="*/ 0 h 88527"/>
                  <a:gd name="connsiteX2" fmla="*/ 124410 w 125736"/>
                  <a:gd name="connsiteY2" fmla="*/ 26537 h 88527"/>
                  <a:gd name="connsiteX3" fmla="*/ 98482 w 125736"/>
                  <a:gd name="connsiteY3" fmla="*/ 44759 h 88527"/>
                  <a:gd name="connsiteX4" fmla="*/ 112794 w 125736"/>
                  <a:gd name="connsiteY4" fmla="*/ 70219 h 88527"/>
                  <a:gd name="connsiteX5" fmla="*/ 74380 w 125736"/>
                  <a:gd name="connsiteY5" fmla="*/ 88528 h 88527"/>
                  <a:gd name="connsiteX6" fmla="*/ 0 w 125736"/>
                  <a:gd name="connsiteY6" fmla="*/ 88528 h 88527"/>
                  <a:gd name="connsiteX7" fmla="*/ 31776 w 125736"/>
                  <a:gd name="connsiteY7" fmla="*/ 0 h 88527"/>
                  <a:gd name="connsiteX8" fmla="*/ 54758 w 125736"/>
                  <a:gd name="connsiteY8" fmla="*/ 53504 h 88527"/>
                  <a:gd name="connsiteX9" fmla="*/ 50776 w 125736"/>
                  <a:gd name="connsiteY9" fmla="*/ 64446 h 88527"/>
                  <a:gd name="connsiteX10" fmla="*/ 66166 w 125736"/>
                  <a:gd name="connsiteY10" fmla="*/ 64446 h 88527"/>
                  <a:gd name="connsiteX11" fmla="*/ 74297 w 125736"/>
                  <a:gd name="connsiteY11" fmla="*/ 60139 h 88527"/>
                  <a:gd name="connsiteX12" fmla="*/ 69444 w 125736"/>
                  <a:gd name="connsiteY12" fmla="*/ 53504 h 88527"/>
                  <a:gd name="connsiteX13" fmla="*/ 54758 w 125736"/>
                  <a:gd name="connsiteY13" fmla="*/ 53504 h 88527"/>
                  <a:gd name="connsiteX14" fmla="*/ 65295 w 125736"/>
                  <a:gd name="connsiteY14" fmla="*/ 24081 h 88527"/>
                  <a:gd name="connsiteX15" fmla="*/ 61562 w 125736"/>
                  <a:gd name="connsiteY15" fmla="*/ 34291 h 88527"/>
                  <a:gd name="connsiteX16" fmla="*/ 73302 w 125736"/>
                  <a:gd name="connsiteY16" fmla="*/ 34291 h 88527"/>
                  <a:gd name="connsiteX17" fmla="*/ 80935 w 125736"/>
                  <a:gd name="connsiteY17" fmla="*/ 29595 h 88527"/>
                  <a:gd name="connsiteX18" fmla="*/ 76952 w 125736"/>
                  <a:gd name="connsiteY18" fmla="*/ 24081 h 88527"/>
                  <a:gd name="connsiteX19" fmla="*/ 65295 w 125736"/>
                  <a:gd name="connsiteY19" fmla="*/ 24081 h 88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5736" h="88527">
                    <a:moveTo>
                      <a:pt x="31776" y="0"/>
                    </a:moveTo>
                    <a:lnTo>
                      <a:pt x="99229" y="0"/>
                    </a:lnTo>
                    <a:cubicBezTo>
                      <a:pt x="121879" y="0"/>
                      <a:pt x="129014" y="12924"/>
                      <a:pt x="124410" y="26537"/>
                    </a:cubicBezTo>
                    <a:cubicBezTo>
                      <a:pt x="120552" y="37608"/>
                      <a:pt x="111093" y="43639"/>
                      <a:pt x="98482" y="44759"/>
                    </a:cubicBezTo>
                    <a:cubicBezTo>
                      <a:pt x="111342" y="46612"/>
                      <a:pt x="117606" y="57037"/>
                      <a:pt x="112794" y="70219"/>
                    </a:cubicBezTo>
                    <a:cubicBezTo>
                      <a:pt x="108438" y="82497"/>
                      <a:pt x="98607" y="88528"/>
                      <a:pt x="74380" y="88528"/>
                    </a:cubicBezTo>
                    <a:lnTo>
                      <a:pt x="0" y="88528"/>
                    </a:lnTo>
                    <a:lnTo>
                      <a:pt x="31776" y="0"/>
                    </a:lnTo>
                    <a:close/>
                    <a:moveTo>
                      <a:pt x="54758" y="53504"/>
                    </a:moveTo>
                    <a:lnTo>
                      <a:pt x="50776" y="64446"/>
                    </a:lnTo>
                    <a:lnTo>
                      <a:pt x="66166" y="64446"/>
                    </a:lnTo>
                    <a:cubicBezTo>
                      <a:pt x="70398" y="64446"/>
                      <a:pt x="73053" y="63585"/>
                      <a:pt x="74297" y="60139"/>
                    </a:cubicBezTo>
                    <a:cubicBezTo>
                      <a:pt x="75625" y="56089"/>
                      <a:pt x="74671" y="53504"/>
                      <a:pt x="69444" y="53504"/>
                    </a:cubicBezTo>
                    <a:lnTo>
                      <a:pt x="54758" y="53504"/>
                    </a:lnTo>
                    <a:close/>
                    <a:moveTo>
                      <a:pt x="65295" y="24081"/>
                    </a:moveTo>
                    <a:lnTo>
                      <a:pt x="61562" y="34291"/>
                    </a:lnTo>
                    <a:lnTo>
                      <a:pt x="73302" y="34291"/>
                    </a:lnTo>
                    <a:cubicBezTo>
                      <a:pt x="78280" y="34291"/>
                      <a:pt x="79856" y="32568"/>
                      <a:pt x="80935" y="29595"/>
                    </a:cubicBezTo>
                    <a:cubicBezTo>
                      <a:pt x="82013" y="26795"/>
                      <a:pt x="81681" y="24081"/>
                      <a:pt x="76952" y="24081"/>
                    </a:cubicBezTo>
                    <a:lnTo>
                      <a:pt x="65295" y="24081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9" name="Freeform: Shape 348">
                <a:extLst>
                  <a:ext uri="{FF2B5EF4-FFF2-40B4-BE49-F238E27FC236}">
                    <a16:creationId xmlns:a16="http://schemas.microsoft.com/office/drawing/2014/main" id="{965CA7D6-C733-4C75-A7FD-778F74AF5ABD}"/>
                  </a:ext>
                </a:extLst>
              </p:cNvPr>
              <p:cNvSpPr/>
              <p:nvPr/>
            </p:nvSpPr>
            <p:spPr>
              <a:xfrm>
                <a:off x="1388581" y="2587752"/>
                <a:ext cx="181159" cy="88527"/>
              </a:xfrm>
              <a:custGeom>
                <a:avLst/>
                <a:gdLst>
                  <a:gd name="connsiteX0" fmla="*/ 57538 w 181159"/>
                  <a:gd name="connsiteY0" fmla="*/ 28518 h 88527"/>
                  <a:gd name="connsiteX1" fmla="*/ 36091 w 181159"/>
                  <a:gd name="connsiteY1" fmla="*/ 88528 h 88527"/>
                  <a:gd name="connsiteX2" fmla="*/ 0 w 181159"/>
                  <a:gd name="connsiteY2" fmla="*/ 88528 h 88527"/>
                  <a:gd name="connsiteX3" fmla="*/ 31735 w 181159"/>
                  <a:gd name="connsiteY3" fmla="*/ 0 h 88527"/>
                  <a:gd name="connsiteX4" fmla="*/ 78114 w 181159"/>
                  <a:gd name="connsiteY4" fmla="*/ 0 h 88527"/>
                  <a:gd name="connsiteX5" fmla="*/ 91430 w 181159"/>
                  <a:gd name="connsiteY5" fmla="*/ 16844 h 88527"/>
                  <a:gd name="connsiteX6" fmla="*/ 90227 w 181159"/>
                  <a:gd name="connsiteY6" fmla="*/ 43295 h 88527"/>
                  <a:gd name="connsiteX7" fmla="*/ 116611 w 181159"/>
                  <a:gd name="connsiteY7" fmla="*/ 0 h 88527"/>
                  <a:gd name="connsiteX8" fmla="*/ 181159 w 181159"/>
                  <a:gd name="connsiteY8" fmla="*/ 0 h 88527"/>
                  <a:gd name="connsiteX9" fmla="*/ 149549 w 181159"/>
                  <a:gd name="connsiteY9" fmla="*/ 88528 h 88527"/>
                  <a:gd name="connsiteX10" fmla="*/ 107028 w 181159"/>
                  <a:gd name="connsiteY10" fmla="*/ 88528 h 88527"/>
                  <a:gd name="connsiteX11" fmla="*/ 127977 w 181159"/>
                  <a:gd name="connsiteY11" fmla="*/ 30242 h 88527"/>
                  <a:gd name="connsiteX12" fmla="*/ 89688 w 181159"/>
                  <a:gd name="connsiteY12" fmla="*/ 88528 h 88527"/>
                  <a:gd name="connsiteX13" fmla="*/ 54551 w 181159"/>
                  <a:gd name="connsiteY13" fmla="*/ 88528 h 88527"/>
                  <a:gd name="connsiteX14" fmla="*/ 57538 w 181159"/>
                  <a:gd name="connsiteY14" fmla="*/ 28518 h 88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1159" h="88527">
                    <a:moveTo>
                      <a:pt x="57538" y="28518"/>
                    </a:moveTo>
                    <a:lnTo>
                      <a:pt x="36091" y="88528"/>
                    </a:lnTo>
                    <a:lnTo>
                      <a:pt x="0" y="88528"/>
                    </a:lnTo>
                    <a:lnTo>
                      <a:pt x="31735" y="0"/>
                    </a:lnTo>
                    <a:lnTo>
                      <a:pt x="78114" y="0"/>
                    </a:lnTo>
                    <a:cubicBezTo>
                      <a:pt x="88900" y="0"/>
                      <a:pt x="91803" y="6031"/>
                      <a:pt x="91430" y="16844"/>
                    </a:cubicBezTo>
                    <a:lnTo>
                      <a:pt x="90227" y="43295"/>
                    </a:lnTo>
                    <a:lnTo>
                      <a:pt x="116611" y="0"/>
                    </a:lnTo>
                    <a:lnTo>
                      <a:pt x="181159" y="0"/>
                    </a:lnTo>
                    <a:lnTo>
                      <a:pt x="149549" y="88528"/>
                    </a:lnTo>
                    <a:lnTo>
                      <a:pt x="107028" y="88528"/>
                    </a:lnTo>
                    <a:lnTo>
                      <a:pt x="127977" y="30242"/>
                    </a:lnTo>
                    <a:lnTo>
                      <a:pt x="89688" y="88528"/>
                    </a:lnTo>
                    <a:lnTo>
                      <a:pt x="54551" y="88528"/>
                    </a:lnTo>
                    <a:lnTo>
                      <a:pt x="57538" y="28518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0" name="Freeform: Shape 349">
                <a:extLst>
                  <a:ext uri="{FF2B5EF4-FFF2-40B4-BE49-F238E27FC236}">
                    <a16:creationId xmlns:a16="http://schemas.microsoft.com/office/drawing/2014/main" id="{86DA5972-A871-4447-A057-C1934D8EF47E}"/>
                  </a:ext>
                </a:extLst>
              </p:cNvPr>
              <p:cNvSpPr/>
              <p:nvPr/>
            </p:nvSpPr>
            <p:spPr>
              <a:xfrm>
                <a:off x="1783630" y="2587752"/>
                <a:ext cx="92052" cy="88484"/>
              </a:xfrm>
              <a:custGeom>
                <a:avLst/>
                <a:gdLst>
                  <a:gd name="connsiteX0" fmla="*/ 31735 w 92052"/>
                  <a:gd name="connsiteY0" fmla="*/ 0 h 88484"/>
                  <a:gd name="connsiteX1" fmla="*/ 73882 w 92052"/>
                  <a:gd name="connsiteY1" fmla="*/ 0 h 88484"/>
                  <a:gd name="connsiteX2" fmla="*/ 51730 w 92052"/>
                  <a:gd name="connsiteY2" fmla="*/ 61948 h 88484"/>
                  <a:gd name="connsiteX3" fmla="*/ 92052 w 92052"/>
                  <a:gd name="connsiteY3" fmla="*/ 61948 h 88484"/>
                  <a:gd name="connsiteX4" fmla="*/ 82470 w 92052"/>
                  <a:gd name="connsiteY4" fmla="*/ 88485 h 88484"/>
                  <a:gd name="connsiteX5" fmla="*/ 0 w 92052"/>
                  <a:gd name="connsiteY5" fmla="*/ 88485 h 88484"/>
                  <a:gd name="connsiteX6" fmla="*/ 31735 w 92052"/>
                  <a:gd name="connsiteY6" fmla="*/ 0 h 8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052" h="88484">
                    <a:moveTo>
                      <a:pt x="31735" y="0"/>
                    </a:moveTo>
                    <a:lnTo>
                      <a:pt x="73882" y="0"/>
                    </a:lnTo>
                    <a:lnTo>
                      <a:pt x="51730" y="61948"/>
                    </a:lnTo>
                    <a:lnTo>
                      <a:pt x="92052" y="61948"/>
                    </a:lnTo>
                    <a:lnTo>
                      <a:pt x="82470" y="88485"/>
                    </a:lnTo>
                    <a:lnTo>
                      <a:pt x="0" y="88485"/>
                    </a:lnTo>
                    <a:lnTo>
                      <a:pt x="31735" y="0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51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592757" y="2756277"/>
              <a:ext cx="1321214" cy="32093"/>
              <a:chOff x="592757" y="2756277"/>
              <a:chExt cx="1321214" cy="32093"/>
            </a:xfrm>
            <a:solidFill>
              <a:srgbClr val="27509B"/>
            </a:solidFill>
          </p:grpSpPr>
          <p:grpSp>
            <p:nvGrpSpPr>
              <p:cNvPr id="352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1033937" y="2756708"/>
                <a:ext cx="175494" cy="31232"/>
                <a:chOff x="1033937" y="2756708"/>
                <a:chExt cx="175494" cy="31232"/>
              </a:xfrm>
              <a:solidFill>
                <a:srgbClr val="27509B"/>
              </a:solidFill>
            </p:grpSpPr>
            <p:sp>
              <p:nvSpPr>
                <p:cNvPr id="353" name="Freeform: Shape 352">
                  <a:extLst>
                    <a:ext uri="{FF2B5EF4-FFF2-40B4-BE49-F238E27FC236}">
                      <a16:creationId xmlns:a16="http://schemas.microsoft.com/office/drawing/2014/main" id="{97A7F76F-58DA-4352-ADA9-CB12342D4606}"/>
                    </a:ext>
                  </a:extLst>
                </p:cNvPr>
                <p:cNvSpPr/>
                <p:nvPr/>
              </p:nvSpPr>
              <p:spPr>
                <a:xfrm>
                  <a:off x="1033937" y="2756751"/>
                  <a:ext cx="43140" cy="30413"/>
                </a:xfrm>
                <a:custGeom>
                  <a:avLst/>
                  <a:gdLst>
                    <a:gd name="connsiteX0" fmla="*/ 10910 w 43140"/>
                    <a:gd name="connsiteY0" fmla="*/ 0 h 30413"/>
                    <a:gd name="connsiteX1" fmla="*/ 34058 w 43140"/>
                    <a:gd name="connsiteY1" fmla="*/ 0 h 30413"/>
                    <a:gd name="connsiteX2" fmla="*/ 42687 w 43140"/>
                    <a:gd name="connsiteY2" fmla="*/ 9133 h 30413"/>
                    <a:gd name="connsiteX3" fmla="*/ 33809 w 43140"/>
                    <a:gd name="connsiteY3" fmla="*/ 15379 h 30413"/>
                    <a:gd name="connsiteX4" fmla="*/ 38704 w 43140"/>
                    <a:gd name="connsiteY4" fmla="*/ 24124 h 30413"/>
                    <a:gd name="connsiteX5" fmla="*/ 25513 w 43140"/>
                    <a:gd name="connsiteY5" fmla="*/ 30414 h 30413"/>
                    <a:gd name="connsiteX6" fmla="*/ 0 w 43140"/>
                    <a:gd name="connsiteY6" fmla="*/ 30414 h 30413"/>
                    <a:gd name="connsiteX7" fmla="*/ 10910 w 43140"/>
                    <a:gd name="connsiteY7" fmla="*/ 0 h 30413"/>
                    <a:gd name="connsiteX8" fmla="*/ 18792 w 43140"/>
                    <a:gd name="connsiteY8" fmla="*/ 18352 h 30413"/>
                    <a:gd name="connsiteX9" fmla="*/ 17423 w 43140"/>
                    <a:gd name="connsiteY9" fmla="*/ 22100 h 30413"/>
                    <a:gd name="connsiteX10" fmla="*/ 22692 w 43140"/>
                    <a:gd name="connsiteY10" fmla="*/ 22100 h 30413"/>
                    <a:gd name="connsiteX11" fmla="*/ 25471 w 43140"/>
                    <a:gd name="connsiteY11" fmla="*/ 20635 h 30413"/>
                    <a:gd name="connsiteX12" fmla="*/ 23812 w 43140"/>
                    <a:gd name="connsiteY12" fmla="*/ 18352 h 30413"/>
                    <a:gd name="connsiteX13" fmla="*/ 18792 w 43140"/>
                    <a:gd name="connsiteY13" fmla="*/ 18352 h 30413"/>
                    <a:gd name="connsiteX14" fmla="*/ 22443 w 43140"/>
                    <a:gd name="connsiteY14" fmla="*/ 8271 h 30413"/>
                    <a:gd name="connsiteX15" fmla="*/ 21157 w 43140"/>
                    <a:gd name="connsiteY15" fmla="*/ 11761 h 30413"/>
                    <a:gd name="connsiteX16" fmla="*/ 25181 w 43140"/>
                    <a:gd name="connsiteY16" fmla="*/ 11761 h 30413"/>
                    <a:gd name="connsiteX17" fmla="*/ 27794 w 43140"/>
                    <a:gd name="connsiteY17" fmla="*/ 10167 h 30413"/>
                    <a:gd name="connsiteX18" fmla="*/ 26425 w 43140"/>
                    <a:gd name="connsiteY18" fmla="*/ 8271 h 30413"/>
                    <a:gd name="connsiteX19" fmla="*/ 22443 w 43140"/>
                    <a:gd name="connsiteY19" fmla="*/ 8271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43140" h="30413">
                      <a:moveTo>
                        <a:pt x="10910" y="0"/>
                      </a:moveTo>
                      <a:lnTo>
                        <a:pt x="34058" y="0"/>
                      </a:lnTo>
                      <a:cubicBezTo>
                        <a:pt x="41816" y="0"/>
                        <a:pt x="44263" y="4437"/>
                        <a:pt x="42687" y="9133"/>
                      </a:cubicBezTo>
                      <a:cubicBezTo>
                        <a:pt x="41359" y="12924"/>
                        <a:pt x="38124" y="14992"/>
                        <a:pt x="33809" y="15379"/>
                      </a:cubicBezTo>
                      <a:cubicBezTo>
                        <a:pt x="38207" y="16025"/>
                        <a:pt x="40364" y="19601"/>
                        <a:pt x="38704" y="24124"/>
                      </a:cubicBezTo>
                      <a:cubicBezTo>
                        <a:pt x="37211" y="28346"/>
                        <a:pt x="33851" y="30414"/>
                        <a:pt x="25513" y="30414"/>
                      </a:cubicBezTo>
                      <a:lnTo>
                        <a:pt x="0" y="30414"/>
                      </a:lnTo>
                      <a:lnTo>
                        <a:pt x="10910" y="0"/>
                      </a:lnTo>
                      <a:close/>
                      <a:moveTo>
                        <a:pt x="18792" y="18352"/>
                      </a:moveTo>
                      <a:lnTo>
                        <a:pt x="17423" y="22100"/>
                      </a:lnTo>
                      <a:lnTo>
                        <a:pt x="22692" y="22100"/>
                      </a:lnTo>
                      <a:cubicBezTo>
                        <a:pt x="24144" y="22100"/>
                        <a:pt x="25056" y="21798"/>
                        <a:pt x="25471" y="20635"/>
                      </a:cubicBezTo>
                      <a:cubicBezTo>
                        <a:pt x="25927" y="19256"/>
                        <a:pt x="25595" y="18352"/>
                        <a:pt x="23812" y="18352"/>
                      </a:cubicBezTo>
                      <a:lnTo>
                        <a:pt x="18792" y="18352"/>
                      </a:lnTo>
                      <a:close/>
                      <a:moveTo>
                        <a:pt x="22443" y="8271"/>
                      </a:moveTo>
                      <a:lnTo>
                        <a:pt x="21157" y="11761"/>
                      </a:lnTo>
                      <a:lnTo>
                        <a:pt x="25181" y="11761"/>
                      </a:lnTo>
                      <a:cubicBezTo>
                        <a:pt x="26881" y="11761"/>
                        <a:pt x="27421" y="11157"/>
                        <a:pt x="27794" y="10167"/>
                      </a:cubicBezTo>
                      <a:cubicBezTo>
                        <a:pt x="28167" y="9176"/>
                        <a:pt x="28043" y="8271"/>
                        <a:pt x="26425" y="8271"/>
                      </a:cubicBezTo>
                      <a:lnTo>
                        <a:pt x="22443" y="82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4" name="Freeform: Shape 353">
                  <a:extLst>
                    <a:ext uri="{FF2B5EF4-FFF2-40B4-BE49-F238E27FC236}">
                      <a16:creationId xmlns:a16="http://schemas.microsoft.com/office/drawing/2014/main" id="{CC5C53D6-B68F-4A22-80BE-D01ABA1BCA4D}"/>
                    </a:ext>
                  </a:extLst>
                </p:cNvPr>
                <p:cNvSpPr/>
                <p:nvPr/>
              </p:nvSpPr>
              <p:spPr>
                <a:xfrm>
                  <a:off x="1076275" y="2756708"/>
                  <a:ext cx="43118" cy="31232"/>
                </a:xfrm>
                <a:custGeom>
                  <a:avLst/>
                  <a:gdLst>
                    <a:gd name="connsiteX0" fmla="*/ 36937 w 43118"/>
                    <a:gd name="connsiteY0" fmla="*/ 17318 h 31232"/>
                    <a:gd name="connsiteX1" fmla="*/ 15200 w 43118"/>
                    <a:gd name="connsiteY1" fmla="*/ 31232 h 31232"/>
                    <a:gd name="connsiteX2" fmla="*/ 929 w 43118"/>
                    <a:gd name="connsiteY2" fmla="*/ 17232 h 31232"/>
                    <a:gd name="connsiteX3" fmla="*/ 7152 w 43118"/>
                    <a:gd name="connsiteY3" fmla="*/ 0 h 31232"/>
                    <a:gd name="connsiteX4" fmla="*/ 21630 w 43118"/>
                    <a:gd name="connsiteY4" fmla="*/ 0 h 31232"/>
                    <a:gd name="connsiteX5" fmla="*/ 15283 w 43118"/>
                    <a:gd name="connsiteY5" fmla="*/ 17749 h 31232"/>
                    <a:gd name="connsiteX6" fmla="*/ 17564 w 43118"/>
                    <a:gd name="connsiteY6" fmla="*/ 22100 h 31232"/>
                    <a:gd name="connsiteX7" fmla="*/ 22293 w 43118"/>
                    <a:gd name="connsiteY7" fmla="*/ 17792 h 31232"/>
                    <a:gd name="connsiteX8" fmla="*/ 28640 w 43118"/>
                    <a:gd name="connsiteY8" fmla="*/ 0 h 31232"/>
                    <a:gd name="connsiteX9" fmla="*/ 43118 w 43118"/>
                    <a:gd name="connsiteY9" fmla="*/ 0 h 31232"/>
                    <a:gd name="connsiteX10" fmla="*/ 36937 w 43118"/>
                    <a:gd name="connsiteY10" fmla="*/ 17318 h 31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3118" h="31232">
                      <a:moveTo>
                        <a:pt x="36937" y="17318"/>
                      </a:moveTo>
                      <a:cubicBezTo>
                        <a:pt x="33162" y="27915"/>
                        <a:pt x="27064" y="31232"/>
                        <a:pt x="15200" y="31232"/>
                      </a:cubicBezTo>
                      <a:cubicBezTo>
                        <a:pt x="2506" y="31232"/>
                        <a:pt x="-2182" y="25891"/>
                        <a:pt x="929" y="17232"/>
                      </a:cubicBezTo>
                      <a:lnTo>
                        <a:pt x="7152" y="0"/>
                      </a:lnTo>
                      <a:lnTo>
                        <a:pt x="21630" y="0"/>
                      </a:lnTo>
                      <a:lnTo>
                        <a:pt x="15283" y="17749"/>
                      </a:lnTo>
                      <a:cubicBezTo>
                        <a:pt x="14163" y="20807"/>
                        <a:pt x="15200" y="22100"/>
                        <a:pt x="17564" y="22100"/>
                      </a:cubicBezTo>
                      <a:cubicBezTo>
                        <a:pt x="19514" y="22100"/>
                        <a:pt x="21007" y="21324"/>
                        <a:pt x="22293" y="17792"/>
                      </a:cubicBezTo>
                      <a:lnTo>
                        <a:pt x="28640" y="0"/>
                      </a:lnTo>
                      <a:lnTo>
                        <a:pt x="43118" y="0"/>
                      </a:lnTo>
                      <a:lnTo>
                        <a:pt x="36937" y="17318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5" name="Freeform: Shape 354">
                  <a:extLst>
                    <a:ext uri="{FF2B5EF4-FFF2-40B4-BE49-F238E27FC236}">
                      <a16:creationId xmlns:a16="http://schemas.microsoft.com/office/drawing/2014/main" id="{F119EA50-25D3-4C4A-B03E-E7CDC364A742}"/>
                    </a:ext>
                  </a:extLst>
                </p:cNvPr>
                <p:cNvSpPr/>
                <p:nvPr/>
              </p:nvSpPr>
              <p:spPr>
                <a:xfrm>
                  <a:off x="1113502" y="2756751"/>
                  <a:ext cx="25346" cy="30370"/>
                </a:xfrm>
                <a:custGeom>
                  <a:avLst/>
                  <a:gdLst>
                    <a:gd name="connsiteX0" fmla="*/ 0 w 25346"/>
                    <a:gd name="connsiteY0" fmla="*/ 30371 h 30370"/>
                    <a:gd name="connsiteX1" fmla="*/ 10869 w 25346"/>
                    <a:gd name="connsiteY1" fmla="*/ 0 h 30370"/>
                    <a:gd name="connsiteX2" fmla="*/ 25347 w 25346"/>
                    <a:gd name="connsiteY2" fmla="*/ 0 h 30370"/>
                    <a:gd name="connsiteX3" fmla="*/ 14478 w 25346"/>
                    <a:gd name="connsiteY3" fmla="*/ 30371 h 30370"/>
                    <a:gd name="connsiteX4" fmla="*/ 0 w 25346"/>
                    <a:gd name="connsiteY4" fmla="*/ 303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346" h="30370">
                      <a:moveTo>
                        <a:pt x="0" y="30371"/>
                      </a:moveTo>
                      <a:lnTo>
                        <a:pt x="10869" y="0"/>
                      </a:lnTo>
                      <a:lnTo>
                        <a:pt x="25347" y="0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6" name="Freeform: Shape 355">
                  <a:extLst>
                    <a:ext uri="{FF2B5EF4-FFF2-40B4-BE49-F238E27FC236}">
                      <a16:creationId xmlns:a16="http://schemas.microsoft.com/office/drawing/2014/main" id="{C2FD7998-0780-4C6A-86C3-2F0331391052}"/>
                    </a:ext>
                  </a:extLst>
                </p:cNvPr>
                <p:cNvSpPr/>
                <p:nvPr/>
              </p:nvSpPr>
              <p:spPr>
                <a:xfrm>
                  <a:off x="1133871" y="2756751"/>
                  <a:ext cx="31569" cy="30370"/>
                </a:xfrm>
                <a:custGeom>
                  <a:avLst/>
                  <a:gdLst>
                    <a:gd name="connsiteX0" fmla="*/ 10827 w 31569"/>
                    <a:gd name="connsiteY0" fmla="*/ 0 h 30370"/>
                    <a:gd name="connsiteX1" fmla="*/ 25305 w 31569"/>
                    <a:gd name="connsiteY1" fmla="*/ 0 h 30370"/>
                    <a:gd name="connsiteX2" fmla="*/ 17714 w 31569"/>
                    <a:gd name="connsiteY2" fmla="*/ 21281 h 30370"/>
                    <a:gd name="connsiteX3" fmla="*/ 31569 w 31569"/>
                    <a:gd name="connsiteY3" fmla="*/ 21281 h 30370"/>
                    <a:gd name="connsiteX4" fmla="*/ 28292 w 31569"/>
                    <a:gd name="connsiteY4" fmla="*/ 30371 h 30370"/>
                    <a:gd name="connsiteX5" fmla="*/ 0 w 31569"/>
                    <a:gd name="connsiteY5" fmla="*/ 30371 h 30370"/>
                    <a:gd name="connsiteX6" fmla="*/ 10827 w 31569"/>
                    <a:gd name="connsiteY6" fmla="*/ 0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569" h="30370">
                      <a:moveTo>
                        <a:pt x="10827" y="0"/>
                      </a:moveTo>
                      <a:lnTo>
                        <a:pt x="25305" y="0"/>
                      </a:lnTo>
                      <a:lnTo>
                        <a:pt x="17714" y="21281"/>
                      </a:lnTo>
                      <a:lnTo>
                        <a:pt x="31569" y="21281"/>
                      </a:lnTo>
                      <a:lnTo>
                        <a:pt x="28292" y="30371"/>
                      </a:lnTo>
                      <a:lnTo>
                        <a:pt x="0" y="30371"/>
                      </a:lnTo>
                      <a:lnTo>
                        <a:pt x="10827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7" name="Freeform: Shape 356">
                  <a:extLst>
                    <a:ext uri="{FF2B5EF4-FFF2-40B4-BE49-F238E27FC236}">
                      <a16:creationId xmlns:a16="http://schemas.microsoft.com/office/drawing/2014/main" id="{D2BDB2AC-655B-4642-880F-EF848A29B12D}"/>
                    </a:ext>
                  </a:extLst>
                </p:cNvPr>
                <p:cNvSpPr/>
                <p:nvPr/>
              </p:nvSpPr>
              <p:spPr>
                <a:xfrm>
                  <a:off x="1166270" y="2756751"/>
                  <a:ext cx="43161" cy="30370"/>
                </a:xfrm>
                <a:custGeom>
                  <a:avLst/>
                  <a:gdLst>
                    <a:gd name="connsiteX0" fmla="*/ 10869 w 43161"/>
                    <a:gd name="connsiteY0" fmla="*/ 0 h 30370"/>
                    <a:gd name="connsiteX1" fmla="*/ 26259 w 43161"/>
                    <a:gd name="connsiteY1" fmla="*/ 0 h 30370"/>
                    <a:gd name="connsiteX2" fmla="*/ 41816 w 43161"/>
                    <a:gd name="connsiteY2" fmla="*/ 17490 h 30370"/>
                    <a:gd name="connsiteX3" fmla="*/ 20700 w 43161"/>
                    <a:gd name="connsiteY3" fmla="*/ 30371 h 30370"/>
                    <a:gd name="connsiteX4" fmla="*/ 0 w 43161"/>
                    <a:gd name="connsiteY4" fmla="*/ 30371 h 30370"/>
                    <a:gd name="connsiteX5" fmla="*/ 10869 w 43161"/>
                    <a:gd name="connsiteY5" fmla="*/ 0 h 30370"/>
                    <a:gd name="connsiteX6" fmla="*/ 22194 w 43161"/>
                    <a:gd name="connsiteY6" fmla="*/ 8659 h 30370"/>
                    <a:gd name="connsiteX7" fmla="*/ 17548 w 43161"/>
                    <a:gd name="connsiteY7" fmla="*/ 21669 h 30370"/>
                    <a:gd name="connsiteX8" fmla="*/ 20700 w 43161"/>
                    <a:gd name="connsiteY8" fmla="*/ 21669 h 30370"/>
                    <a:gd name="connsiteX9" fmla="*/ 28002 w 43161"/>
                    <a:gd name="connsiteY9" fmla="*/ 15422 h 30370"/>
                    <a:gd name="connsiteX10" fmla="*/ 25056 w 43161"/>
                    <a:gd name="connsiteY10" fmla="*/ 8659 h 30370"/>
                    <a:gd name="connsiteX11" fmla="*/ 22194 w 43161"/>
                    <a:gd name="connsiteY11" fmla="*/ 8659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3161" h="30370">
                      <a:moveTo>
                        <a:pt x="10869" y="0"/>
                      </a:moveTo>
                      <a:lnTo>
                        <a:pt x="26259" y="0"/>
                      </a:lnTo>
                      <a:cubicBezTo>
                        <a:pt x="42272" y="0"/>
                        <a:pt x="45425" y="7280"/>
                        <a:pt x="41816" y="17490"/>
                      </a:cubicBezTo>
                      <a:cubicBezTo>
                        <a:pt x="38290" y="27355"/>
                        <a:pt x="30615" y="30371"/>
                        <a:pt x="20700" y="30371"/>
                      </a:cubicBezTo>
                      <a:lnTo>
                        <a:pt x="0" y="30371"/>
                      </a:lnTo>
                      <a:lnTo>
                        <a:pt x="10869" y="0"/>
                      </a:lnTo>
                      <a:close/>
                      <a:moveTo>
                        <a:pt x="22194" y="8659"/>
                      </a:moveTo>
                      <a:lnTo>
                        <a:pt x="17548" y="21669"/>
                      </a:lnTo>
                      <a:lnTo>
                        <a:pt x="20700" y="21669"/>
                      </a:lnTo>
                      <a:cubicBezTo>
                        <a:pt x="24310" y="21669"/>
                        <a:pt x="26384" y="20118"/>
                        <a:pt x="28002" y="15422"/>
                      </a:cubicBezTo>
                      <a:cubicBezTo>
                        <a:pt x="29619" y="10770"/>
                        <a:pt x="29122" y="8659"/>
                        <a:pt x="25056" y="8659"/>
                      </a:cubicBezTo>
                      <a:lnTo>
                        <a:pt x="22194" y="8659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58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1322705" y="2756277"/>
                <a:ext cx="289888" cy="32093"/>
                <a:chOff x="1322705" y="2756277"/>
                <a:chExt cx="289888" cy="32093"/>
              </a:xfrm>
              <a:solidFill>
                <a:srgbClr val="27509B"/>
              </a:solidFill>
            </p:grpSpPr>
            <p:sp>
              <p:nvSpPr>
                <p:cNvPr id="359" name="Freeform: Shape 358">
                  <a:extLst>
                    <a:ext uri="{FF2B5EF4-FFF2-40B4-BE49-F238E27FC236}">
                      <a16:creationId xmlns:a16="http://schemas.microsoft.com/office/drawing/2014/main" id="{9DF53FBF-8BD5-4170-8234-14A3518C4181}"/>
                    </a:ext>
                  </a:extLst>
                </p:cNvPr>
                <p:cNvSpPr/>
                <p:nvPr/>
              </p:nvSpPr>
              <p:spPr>
                <a:xfrm>
                  <a:off x="1322705" y="2757139"/>
                  <a:ext cx="62142" cy="30413"/>
                </a:xfrm>
                <a:custGeom>
                  <a:avLst/>
                  <a:gdLst>
                    <a:gd name="connsiteX0" fmla="*/ 19746 w 62142"/>
                    <a:gd name="connsiteY0" fmla="*/ 9822 h 30413"/>
                    <a:gd name="connsiteX1" fmla="*/ 12404 w 62142"/>
                    <a:gd name="connsiteY1" fmla="*/ 30414 h 30413"/>
                    <a:gd name="connsiteX2" fmla="*/ 0 w 62142"/>
                    <a:gd name="connsiteY2" fmla="*/ 30414 h 30413"/>
                    <a:gd name="connsiteX3" fmla="*/ 10869 w 62142"/>
                    <a:gd name="connsiteY3" fmla="*/ 43 h 30413"/>
                    <a:gd name="connsiteX4" fmla="*/ 26798 w 62142"/>
                    <a:gd name="connsiteY4" fmla="*/ 43 h 30413"/>
                    <a:gd name="connsiteX5" fmla="*/ 31362 w 62142"/>
                    <a:gd name="connsiteY5" fmla="*/ 5816 h 30413"/>
                    <a:gd name="connsiteX6" fmla="*/ 30947 w 62142"/>
                    <a:gd name="connsiteY6" fmla="*/ 14862 h 30413"/>
                    <a:gd name="connsiteX7" fmla="*/ 39990 w 62142"/>
                    <a:gd name="connsiteY7" fmla="*/ 0 h 30413"/>
                    <a:gd name="connsiteX8" fmla="*/ 62143 w 62142"/>
                    <a:gd name="connsiteY8" fmla="*/ 0 h 30413"/>
                    <a:gd name="connsiteX9" fmla="*/ 51315 w 62142"/>
                    <a:gd name="connsiteY9" fmla="*/ 30371 h 30413"/>
                    <a:gd name="connsiteX10" fmla="*/ 36713 w 62142"/>
                    <a:gd name="connsiteY10" fmla="*/ 30371 h 30413"/>
                    <a:gd name="connsiteX11" fmla="*/ 43890 w 62142"/>
                    <a:gd name="connsiteY11" fmla="*/ 10382 h 30413"/>
                    <a:gd name="connsiteX12" fmla="*/ 30739 w 62142"/>
                    <a:gd name="connsiteY12" fmla="*/ 30371 h 30413"/>
                    <a:gd name="connsiteX13" fmla="*/ 18709 w 62142"/>
                    <a:gd name="connsiteY13" fmla="*/ 30371 h 30413"/>
                    <a:gd name="connsiteX14" fmla="*/ 19746 w 62142"/>
                    <a:gd name="connsiteY14" fmla="*/ 9822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142" h="30413">
                      <a:moveTo>
                        <a:pt x="19746" y="9822"/>
                      </a:moveTo>
                      <a:lnTo>
                        <a:pt x="12404" y="30414"/>
                      </a:lnTo>
                      <a:lnTo>
                        <a:pt x="0" y="30414"/>
                      </a:lnTo>
                      <a:lnTo>
                        <a:pt x="10869" y="43"/>
                      </a:lnTo>
                      <a:lnTo>
                        <a:pt x="26798" y="43"/>
                      </a:lnTo>
                      <a:cubicBezTo>
                        <a:pt x="30490" y="43"/>
                        <a:pt x="31486" y="2111"/>
                        <a:pt x="31362" y="5816"/>
                      </a:cubicBezTo>
                      <a:lnTo>
                        <a:pt x="30947" y="14862"/>
                      </a:lnTo>
                      <a:lnTo>
                        <a:pt x="39990" y="0"/>
                      </a:lnTo>
                      <a:lnTo>
                        <a:pt x="62143" y="0"/>
                      </a:lnTo>
                      <a:lnTo>
                        <a:pt x="51315" y="30371"/>
                      </a:lnTo>
                      <a:lnTo>
                        <a:pt x="36713" y="30371"/>
                      </a:lnTo>
                      <a:lnTo>
                        <a:pt x="43890" y="10382"/>
                      </a:lnTo>
                      <a:lnTo>
                        <a:pt x="30739" y="30371"/>
                      </a:lnTo>
                      <a:lnTo>
                        <a:pt x="18709" y="30371"/>
                      </a:lnTo>
                      <a:lnTo>
                        <a:pt x="19746" y="9822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0" name="Freeform: Shape 359">
                  <a:extLst>
                    <a:ext uri="{FF2B5EF4-FFF2-40B4-BE49-F238E27FC236}">
                      <a16:creationId xmlns:a16="http://schemas.microsoft.com/office/drawing/2014/main" id="{9AF1CB7A-D9BD-42C0-B4AC-44991E9E0A27}"/>
                    </a:ext>
                  </a:extLst>
                </p:cNvPr>
                <p:cNvSpPr/>
                <p:nvPr/>
              </p:nvSpPr>
              <p:spPr>
                <a:xfrm>
                  <a:off x="1379869" y="2757182"/>
                  <a:ext cx="41317" cy="30413"/>
                </a:xfrm>
                <a:custGeom>
                  <a:avLst/>
                  <a:gdLst>
                    <a:gd name="connsiteX0" fmla="*/ 10869 w 41317"/>
                    <a:gd name="connsiteY0" fmla="*/ 0 h 30413"/>
                    <a:gd name="connsiteX1" fmla="*/ 41318 w 41317"/>
                    <a:gd name="connsiteY1" fmla="*/ 0 h 30413"/>
                    <a:gd name="connsiteX2" fmla="*/ 38372 w 41317"/>
                    <a:gd name="connsiteY2" fmla="*/ 8271 h 30413"/>
                    <a:gd name="connsiteX3" fmla="*/ 22360 w 41317"/>
                    <a:gd name="connsiteY3" fmla="*/ 8271 h 30413"/>
                    <a:gd name="connsiteX4" fmla="*/ 21364 w 41317"/>
                    <a:gd name="connsiteY4" fmla="*/ 11028 h 30413"/>
                    <a:gd name="connsiteX5" fmla="*/ 35800 w 41317"/>
                    <a:gd name="connsiteY5" fmla="*/ 11028 h 30413"/>
                    <a:gd name="connsiteX6" fmla="*/ 32772 w 41317"/>
                    <a:gd name="connsiteY6" fmla="*/ 19300 h 30413"/>
                    <a:gd name="connsiteX7" fmla="*/ 18419 w 41317"/>
                    <a:gd name="connsiteY7" fmla="*/ 19300 h 30413"/>
                    <a:gd name="connsiteX8" fmla="*/ 17382 w 41317"/>
                    <a:gd name="connsiteY8" fmla="*/ 22143 h 30413"/>
                    <a:gd name="connsiteX9" fmla="*/ 33394 w 41317"/>
                    <a:gd name="connsiteY9" fmla="*/ 22143 h 30413"/>
                    <a:gd name="connsiteX10" fmla="*/ 30449 w 41317"/>
                    <a:gd name="connsiteY10" fmla="*/ 30414 h 30413"/>
                    <a:gd name="connsiteX11" fmla="*/ 0 w 41317"/>
                    <a:gd name="connsiteY11" fmla="*/ 30414 h 30413"/>
                    <a:gd name="connsiteX12" fmla="*/ 10869 w 41317"/>
                    <a:gd name="connsiteY12" fmla="*/ 0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317" h="30413">
                      <a:moveTo>
                        <a:pt x="10869" y="0"/>
                      </a:moveTo>
                      <a:lnTo>
                        <a:pt x="41318" y="0"/>
                      </a:lnTo>
                      <a:lnTo>
                        <a:pt x="38372" y="8271"/>
                      </a:lnTo>
                      <a:lnTo>
                        <a:pt x="22360" y="8271"/>
                      </a:lnTo>
                      <a:lnTo>
                        <a:pt x="21364" y="11028"/>
                      </a:lnTo>
                      <a:lnTo>
                        <a:pt x="35800" y="11028"/>
                      </a:lnTo>
                      <a:lnTo>
                        <a:pt x="32772" y="19300"/>
                      </a:lnTo>
                      <a:lnTo>
                        <a:pt x="18419" y="19300"/>
                      </a:lnTo>
                      <a:lnTo>
                        <a:pt x="17382" y="22143"/>
                      </a:lnTo>
                      <a:lnTo>
                        <a:pt x="33394" y="22143"/>
                      </a:lnTo>
                      <a:lnTo>
                        <a:pt x="30449" y="30414"/>
                      </a:lnTo>
                      <a:lnTo>
                        <a:pt x="0" y="30414"/>
                      </a:lnTo>
                      <a:lnTo>
                        <a:pt x="10869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1" name="Freeform: Shape 360">
                  <a:extLst>
                    <a:ext uri="{FF2B5EF4-FFF2-40B4-BE49-F238E27FC236}">
                      <a16:creationId xmlns:a16="http://schemas.microsoft.com/office/drawing/2014/main" id="{2F390DBD-4742-44EF-9658-937C999E8544}"/>
                    </a:ext>
                  </a:extLst>
                </p:cNvPr>
                <p:cNvSpPr/>
                <p:nvPr/>
              </p:nvSpPr>
              <p:spPr>
                <a:xfrm>
                  <a:off x="1413222" y="2757182"/>
                  <a:ext cx="42437" cy="30370"/>
                </a:xfrm>
                <a:custGeom>
                  <a:avLst/>
                  <a:gdLst>
                    <a:gd name="connsiteX0" fmla="*/ 28375 w 42437"/>
                    <a:gd name="connsiteY0" fmla="*/ 26063 h 30370"/>
                    <a:gd name="connsiteX1" fmla="*/ 17506 w 42437"/>
                    <a:gd name="connsiteY1" fmla="*/ 26063 h 30370"/>
                    <a:gd name="connsiteX2" fmla="*/ 14851 w 42437"/>
                    <a:gd name="connsiteY2" fmla="*/ 30371 h 30370"/>
                    <a:gd name="connsiteX3" fmla="*/ 0 w 42437"/>
                    <a:gd name="connsiteY3" fmla="*/ 30371 h 30370"/>
                    <a:gd name="connsiteX4" fmla="*/ 17382 w 42437"/>
                    <a:gd name="connsiteY4" fmla="*/ 4696 h 30370"/>
                    <a:gd name="connsiteX5" fmla="*/ 25430 w 42437"/>
                    <a:gd name="connsiteY5" fmla="*/ 0 h 30370"/>
                    <a:gd name="connsiteX6" fmla="*/ 42438 w 42437"/>
                    <a:gd name="connsiteY6" fmla="*/ 0 h 30370"/>
                    <a:gd name="connsiteX7" fmla="*/ 41608 w 42437"/>
                    <a:gd name="connsiteY7" fmla="*/ 30371 h 30370"/>
                    <a:gd name="connsiteX8" fmla="*/ 28126 w 42437"/>
                    <a:gd name="connsiteY8" fmla="*/ 30371 h 30370"/>
                    <a:gd name="connsiteX9" fmla="*/ 28375 w 42437"/>
                    <a:gd name="connsiteY9" fmla="*/ 26063 h 30370"/>
                    <a:gd name="connsiteX10" fmla="*/ 29412 w 42437"/>
                    <a:gd name="connsiteY10" fmla="*/ 6936 h 30370"/>
                    <a:gd name="connsiteX11" fmla="*/ 22940 w 42437"/>
                    <a:gd name="connsiteY11" fmla="*/ 17361 h 30370"/>
                    <a:gd name="connsiteX12" fmla="*/ 28831 w 42437"/>
                    <a:gd name="connsiteY12" fmla="*/ 17361 h 30370"/>
                    <a:gd name="connsiteX13" fmla="*/ 29412 w 42437"/>
                    <a:gd name="connsiteY13" fmla="*/ 6936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2437" h="30370">
                      <a:moveTo>
                        <a:pt x="28375" y="26063"/>
                      </a:moveTo>
                      <a:lnTo>
                        <a:pt x="17506" y="26063"/>
                      </a:lnTo>
                      <a:lnTo>
                        <a:pt x="14851" y="30371"/>
                      </a:lnTo>
                      <a:lnTo>
                        <a:pt x="0" y="30371"/>
                      </a:lnTo>
                      <a:lnTo>
                        <a:pt x="17382" y="4696"/>
                      </a:lnTo>
                      <a:cubicBezTo>
                        <a:pt x="19663" y="1335"/>
                        <a:pt x="21903" y="0"/>
                        <a:pt x="25430" y="0"/>
                      </a:cubicBezTo>
                      <a:lnTo>
                        <a:pt x="42438" y="0"/>
                      </a:lnTo>
                      <a:lnTo>
                        <a:pt x="41608" y="30371"/>
                      </a:lnTo>
                      <a:lnTo>
                        <a:pt x="28126" y="30371"/>
                      </a:lnTo>
                      <a:lnTo>
                        <a:pt x="28375" y="26063"/>
                      </a:lnTo>
                      <a:close/>
                      <a:moveTo>
                        <a:pt x="29412" y="6936"/>
                      </a:moveTo>
                      <a:lnTo>
                        <a:pt x="22940" y="17361"/>
                      </a:lnTo>
                      <a:lnTo>
                        <a:pt x="28831" y="17361"/>
                      </a:lnTo>
                      <a:lnTo>
                        <a:pt x="29412" y="6936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2" name="Freeform: Shape 361">
                  <a:extLst>
                    <a:ext uri="{FF2B5EF4-FFF2-40B4-BE49-F238E27FC236}">
                      <a16:creationId xmlns:a16="http://schemas.microsoft.com/office/drawing/2014/main" id="{368EE22D-4083-4E46-BBE3-3C73854D9D42}"/>
                    </a:ext>
                  </a:extLst>
                </p:cNvPr>
                <p:cNvSpPr/>
                <p:nvPr/>
              </p:nvSpPr>
              <p:spPr>
                <a:xfrm>
                  <a:off x="1457485" y="2756277"/>
                  <a:ext cx="38206" cy="32052"/>
                </a:xfrm>
                <a:custGeom>
                  <a:avLst/>
                  <a:gdLst>
                    <a:gd name="connsiteX0" fmla="*/ 0 w 38206"/>
                    <a:gd name="connsiteY0" fmla="*/ 29811 h 32052"/>
                    <a:gd name="connsiteX1" fmla="*/ 2945 w 38206"/>
                    <a:gd name="connsiteY1" fmla="*/ 21669 h 32052"/>
                    <a:gd name="connsiteX2" fmla="*/ 13690 w 38206"/>
                    <a:gd name="connsiteY2" fmla="*/ 23650 h 32052"/>
                    <a:gd name="connsiteX3" fmla="*/ 19248 w 38206"/>
                    <a:gd name="connsiteY3" fmla="*/ 22272 h 32052"/>
                    <a:gd name="connsiteX4" fmla="*/ 18336 w 38206"/>
                    <a:gd name="connsiteY4" fmla="*/ 20549 h 32052"/>
                    <a:gd name="connsiteX5" fmla="*/ 14187 w 38206"/>
                    <a:gd name="connsiteY5" fmla="*/ 19903 h 32052"/>
                    <a:gd name="connsiteX6" fmla="*/ 6389 w 38206"/>
                    <a:gd name="connsiteY6" fmla="*/ 8831 h 32052"/>
                    <a:gd name="connsiteX7" fmla="*/ 24226 w 38206"/>
                    <a:gd name="connsiteY7" fmla="*/ 0 h 32052"/>
                    <a:gd name="connsiteX8" fmla="*/ 38206 w 38206"/>
                    <a:gd name="connsiteY8" fmla="*/ 2154 h 32052"/>
                    <a:gd name="connsiteX9" fmla="*/ 35303 w 38206"/>
                    <a:gd name="connsiteY9" fmla="*/ 10296 h 32052"/>
                    <a:gd name="connsiteX10" fmla="*/ 24932 w 38206"/>
                    <a:gd name="connsiteY10" fmla="*/ 8443 h 32052"/>
                    <a:gd name="connsiteX11" fmla="*/ 20285 w 38206"/>
                    <a:gd name="connsiteY11" fmla="*/ 9650 h 32052"/>
                    <a:gd name="connsiteX12" fmla="*/ 21115 w 38206"/>
                    <a:gd name="connsiteY12" fmla="*/ 11114 h 32052"/>
                    <a:gd name="connsiteX13" fmla="*/ 25264 w 38206"/>
                    <a:gd name="connsiteY13" fmla="*/ 11761 h 32052"/>
                    <a:gd name="connsiteX14" fmla="*/ 33021 w 38206"/>
                    <a:gd name="connsiteY14" fmla="*/ 23349 h 32052"/>
                    <a:gd name="connsiteX15" fmla="*/ 15349 w 38206"/>
                    <a:gd name="connsiteY15" fmla="*/ 32051 h 32052"/>
                    <a:gd name="connsiteX16" fmla="*/ 0 w 38206"/>
                    <a:gd name="connsiteY16" fmla="*/ 29811 h 320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8206" h="32052">
                      <a:moveTo>
                        <a:pt x="0" y="29811"/>
                      </a:moveTo>
                      <a:lnTo>
                        <a:pt x="2945" y="21669"/>
                      </a:lnTo>
                      <a:cubicBezTo>
                        <a:pt x="5476" y="22703"/>
                        <a:pt x="10122" y="23650"/>
                        <a:pt x="13690" y="23650"/>
                      </a:cubicBezTo>
                      <a:cubicBezTo>
                        <a:pt x="17589" y="23650"/>
                        <a:pt x="18709" y="23435"/>
                        <a:pt x="19248" y="22272"/>
                      </a:cubicBezTo>
                      <a:cubicBezTo>
                        <a:pt x="19705" y="21195"/>
                        <a:pt x="19124" y="20678"/>
                        <a:pt x="18336" y="20549"/>
                      </a:cubicBezTo>
                      <a:lnTo>
                        <a:pt x="14187" y="19903"/>
                      </a:lnTo>
                      <a:cubicBezTo>
                        <a:pt x="5974" y="18653"/>
                        <a:pt x="4397" y="14518"/>
                        <a:pt x="6389" y="8831"/>
                      </a:cubicBezTo>
                      <a:cubicBezTo>
                        <a:pt x="8712" y="2283"/>
                        <a:pt x="15100" y="0"/>
                        <a:pt x="24226" y="0"/>
                      </a:cubicBezTo>
                      <a:cubicBezTo>
                        <a:pt x="30200" y="0"/>
                        <a:pt x="34307" y="732"/>
                        <a:pt x="38206" y="2154"/>
                      </a:cubicBezTo>
                      <a:lnTo>
                        <a:pt x="35303" y="10296"/>
                      </a:lnTo>
                      <a:cubicBezTo>
                        <a:pt x="33021" y="9391"/>
                        <a:pt x="28873" y="8443"/>
                        <a:pt x="24932" y="8443"/>
                      </a:cubicBezTo>
                      <a:cubicBezTo>
                        <a:pt x="21820" y="8443"/>
                        <a:pt x="20659" y="8616"/>
                        <a:pt x="20285" y="9650"/>
                      </a:cubicBezTo>
                      <a:cubicBezTo>
                        <a:pt x="19912" y="10684"/>
                        <a:pt x="20327" y="10985"/>
                        <a:pt x="21115" y="11114"/>
                      </a:cubicBezTo>
                      <a:lnTo>
                        <a:pt x="25264" y="11761"/>
                      </a:lnTo>
                      <a:cubicBezTo>
                        <a:pt x="33602" y="13010"/>
                        <a:pt x="35261" y="17447"/>
                        <a:pt x="33021" y="23349"/>
                      </a:cubicBezTo>
                      <a:cubicBezTo>
                        <a:pt x="30491" y="30112"/>
                        <a:pt x="24351" y="32051"/>
                        <a:pt x="15349" y="32051"/>
                      </a:cubicBezTo>
                      <a:cubicBezTo>
                        <a:pt x="8712" y="32094"/>
                        <a:pt x="4190" y="31405"/>
                        <a:pt x="0" y="29811"/>
                      </a:cubicBez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3" name="Freeform: Shape 362">
                  <a:extLst>
                    <a:ext uri="{FF2B5EF4-FFF2-40B4-BE49-F238E27FC236}">
                      <a16:creationId xmlns:a16="http://schemas.microsoft.com/office/drawing/2014/main" id="{7369E594-3C34-42F2-91AE-8FE02AECF4CD}"/>
                    </a:ext>
                  </a:extLst>
                </p:cNvPr>
                <p:cNvSpPr/>
                <p:nvPr/>
              </p:nvSpPr>
              <p:spPr>
                <a:xfrm>
                  <a:off x="1494140" y="2757139"/>
                  <a:ext cx="43118" cy="31232"/>
                </a:xfrm>
                <a:custGeom>
                  <a:avLst/>
                  <a:gdLst>
                    <a:gd name="connsiteX0" fmla="*/ 36937 w 43118"/>
                    <a:gd name="connsiteY0" fmla="*/ 17318 h 31232"/>
                    <a:gd name="connsiteX1" fmla="*/ 15200 w 43118"/>
                    <a:gd name="connsiteY1" fmla="*/ 31232 h 31232"/>
                    <a:gd name="connsiteX2" fmla="*/ 929 w 43118"/>
                    <a:gd name="connsiteY2" fmla="*/ 17232 h 31232"/>
                    <a:gd name="connsiteX3" fmla="*/ 7152 w 43118"/>
                    <a:gd name="connsiteY3" fmla="*/ 0 h 31232"/>
                    <a:gd name="connsiteX4" fmla="*/ 21630 w 43118"/>
                    <a:gd name="connsiteY4" fmla="*/ 0 h 31232"/>
                    <a:gd name="connsiteX5" fmla="*/ 15283 w 43118"/>
                    <a:gd name="connsiteY5" fmla="*/ 17749 h 31232"/>
                    <a:gd name="connsiteX6" fmla="*/ 17564 w 43118"/>
                    <a:gd name="connsiteY6" fmla="*/ 22100 h 31232"/>
                    <a:gd name="connsiteX7" fmla="*/ 22293 w 43118"/>
                    <a:gd name="connsiteY7" fmla="*/ 17792 h 31232"/>
                    <a:gd name="connsiteX8" fmla="*/ 28640 w 43118"/>
                    <a:gd name="connsiteY8" fmla="*/ 0 h 31232"/>
                    <a:gd name="connsiteX9" fmla="*/ 43118 w 43118"/>
                    <a:gd name="connsiteY9" fmla="*/ 0 h 31232"/>
                    <a:gd name="connsiteX10" fmla="*/ 36937 w 43118"/>
                    <a:gd name="connsiteY10" fmla="*/ 17318 h 31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3118" h="31232">
                      <a:moveTo>
                        <a:pt x="36937" y="17318"/>
                      </a:moveTo>
                      <a:cubicBezTo>
                        <a:pt x="33162" y="27915"/>
                        <a:pt x="27064" y="31232"/>
                        <a:pt x="15200" y="31232"/>
                      </a:cubicBezTo>
                      <a:cubicBezTo>
                        <a:pt x="2506" y="31232"/>
                        <a:pt x="-2182" y="25891"/>
                        <a:pt x="929" y="17232"/>
                      </a:cubicBezTo>
                      <a:lnTo>
                        <a:pt x="7152" y="0"/>
                      </a:lnTo>
                      <a:lnTo>
                        <a:pt x="21630" y="0"/>
                      </a:lnTo>
                      <a:lnTo>
                        <a:pt x="15283" y="17749"/>
                      </a:lnTo>
                      <a:cubicBezTo>
                        <a:pt x="14163" y="20807"/>
                        <a:pt x="15200" y="22100"/>
                        <a:pt x="17564" y="22100"/>
                      </a:cubicBezTo>
                      <a:cubicBezTo>
                        <a:pt x="19514" y="22100"/>
                        <a:pt x="21007" y="21324"/>
                        <a:pt x="22293" y="17792"/>
                      </a:cubicBezTo>
                      <a:lnTo>
                        <a:pt x="28640" y="0"/>
                      </a:lnTo>
                      <a:lnTo>
                        <a:pt x="43118" y="0"/>
                      </a:lnTo>
                      <a:lnTo>
                        <a:pt x="36937" y="17318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4" name="Freeform: Shape 363">
                  <a:extLst>
                    <a:ext uri="{FF2B5EF4-FFF2-40B4-BE49-F238E27FC236}">
                      <a16:creationId xmlns:a16="http://schemas.microsoft.com/office/drawing/2014/main" id="{25FBAD90-BEBD-4BB5-8A0D-624651EEBD89}"/>
                    </a:ext>
                  </a:extLst>
                </p:cNvPr>
                <p:cNvSpPr/>
                <p:nvPr/>
              </p:nvSpPr>
              <p:spPr>
                <a:xfrm>
                  <a:off x="1531368" y="2757182"/>
                  <a:ext cx="42592" cy="30370"/>
                </a:xfrm>
                <a:custGeom>
                  <a:avLst/>
                  <a:gdLst>
                    <a:gd name="connsiteX0" fmla="*/ 18834 w 42592"/>
                    <a:gd name="connsiteY0" fmla="*/ 22358 h 30370"/>
                    <a:gd name="connsiteX1" fmla="*/ 17340 w 42592"/>
                    <a:gd name="connsiteY1" fmla="*/ 22358 h 30370"/>
                    <a:gd name="connsiteX2" fmla="*/ 14478 w 42592"/>
                    <a:gd name="connsiteY2" fmla="*/ 30371 h 30370"/>
                    <a:gd name="connsiteX3" fmla="*/ 0 w 42592"/>
                    <a:gd name="connsiteY3" fmla="*/ 30371 h 30370"/>
                    <a:gd name="connsiteX4" fmla="*/ 10869 w 42592"/>
                    <a:gd name="connsiteY4" fmla="*/ 0 h 30370"/>
                    <a:gd name="connsiteX5" fmla="*/ 28665 w 42592"/>
                    <a:gd name="connsiteY5" fmla="*/ 0 h 30370"/>
                    <a:gd name="connsiteX6" fmla="*/ 41691 w 42592"/>
                    <a:gd name="connsiteY6" fmla="*/ 12881 h 30370"/>
                    <a:gd name="connsiteX7" fmla="*/ 31943 w 42592"/>
                    <a:gd name="connsiteY7" fmla="*/ 20161 h 30370"/>
                    <a:gd name="connsiteX8" fmla="*/ 36589 w 42592"/>
                    <a:gd name="connsiteY8" fmla="*/ 30371 h 30370"/>
                    <a:gd name="connsiteX9" fmla="*/ 21696 w 42592"/>
                    <a:gd name="connsiteY9" fmla="*/ 30371 h 30370"/>
                    <a:gd name="connsiteX10" fmla="*/ 18834 w 42592"/>
                    <a:gd name="connsiteY10" fmla="*/ 22358 h 30370"/>
                    <a:gd name="connsiteX11" fmla="*/ 22401 w 42592"/>
                    <a:gd name="connsiteY11" fmla="*/ 8228 h 30370"/>
                    <a:gd name="connsiteX12" fmla="*/ 20286 w 42592"/>
                    <a:gd name="connsiteY12" fmla="*/ 14044 h 30370"/>
                    <a:gd name="connsiteX13" fmla="*/ 22069 w 42592"/>
                    <a:gd name="connsiteY13" fmla="*/ 14044 h 30370"/>
                    <a:gd name="connsiteX14" fmla="*/ 27421 w 42592"/>
                    <a:gd name="connsiteY14" fmla="*/ 11373 h 30370"/>
                    <a:gd name="connsiteX15" fmla="*/ 24641 w 42592"/>
                    <a:gd name="connsiteY15" fmla="*/ 8228 h 30370"/>
                    <a:gd name="connsiteX16" fmla="*/ 22401 w 42592"/>
                    <a:gd name="connsiteY16" fmla="*/ 8228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2592" h="30370">
                      <a:moveTo>
                        <a:pt x="18834" y="22358"/>
                      </a:moveTo>
                      <a:lnTo>
                        <a:pt x="17340" y="22358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8665" y="0"/>
                      </a:lnTo>
                      <a:cubicBezTo>
                        <a:pt x="40861" y="0"/>
                        <a:pt x="44512" y="4868"/>
                        <a:pt x="41691" y="12881"/>
                      </a:cubicBezTo>
                      <a:cubicBezTo>
                        <a:pt x="40073" y="17447"/>
                        <a:pt x="36920" y="19386"/>
                        <a:pt x="31943" y="20161"/>
                      </a:cubicBezTo>
                      <a:lnTo>
                        <a:pt x="36589" y="30371"/>
                      </a:lnTo>
                      <a:lnTo>
                        <a:pt x="21696" y="30371"/>
                      </a:lnTo>
                      <a:lnTo>
                        <a:pt x="18834" y="22358"/>
                      </a:lnTo>
                      <a:close/>
                      <a:moveTo>
                        <a:pt x="22401" y="8228"/>
                      </a:moveTo>
                      <a:lnTo>
                        <a:pt x="20286" y="14044"/>
                      </a:lnTo>
                      <a:lnTo>
                        <a:pt x="22069" y="14044"/>
                      </a:lnTo>
                      <a:cubicBezTo>
                        <a:pt x="25222" y="14044"/>
                        <a:pt x="26508" y="13915"/>
                        <a:pt x="27421" y="11373"/>
                      </a:cubicBezTo>
                      <a:cubicBezTo>
                        <a:pt x="28084" y="9607"/>
                        <a:pt x="27919" y="8228"/>
                        <a:pt x="24641" y="8228"/>
                      </a:cubicBezTo>
                      <a:lnTo>
                        <a:pt x="22401" y="8228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5" name="Freeform: Shape 364">
                  <a:extLst>
                    <a:ext uri="{FF2B5EF4-FFF2-40B4-BE49-F238E27FC236}">
                      <a16:creationId xmlns:a16="http://schemas.microsoft.com/office/drawing/2014/main" id="{49EB0F58-7919-454C-81F5-BEF3BACCA42F}"/>
                    </a:ext>
                  </a:extLst>
                </p:cNvPr>
                <p:cNvSpPr/>
                <p:nvPr/>
              </p:nvSpPr>
              <p:spPr>
                <a:xfrm>
                  <a:off x="1571275" y="2757182"/>
                  <a:ext cx="41317" cy="30413"/>
                </a:xfrm>
                <a:custGeom>
                  <a:avLst/>
                  <a:gdLst>
                    <a:gd name="connsiteX0" fmla="*/ 10869 w 41317"/>
                    <a:gd name="connsiteY0" fmla="*/ 0 h 30413"/>
                    <a:gd name="connsiteX1" fmla="*/ 41318 w 41317"/>
                    <a:gd name="connsiteY1" fmla="*/ 0 h 30413"/>
                    <a:gd name="connsiteX2" fmla="*/ 38372 w 41317"/>
                    <a:gd name="connsiteY2" fmla="*/ 8271 h 30413"/>
                    <a:gd name="connsiteX3" fmla="*/ 22360 w 41317"/>
                    <a:gd name="connsiteY3" fmla="*/ 8271 h 30413"/>
                    <a:gd name="connsiteX4" fmla="*/ 21364 w 41317"/>
                    <a:gd name="connsiteY4" fmla="*/ 11028 h 30413"/>
                    <a:gd name="connsiteX5" fmla="*/ 35800 w 41317"/>
                    <a:gd name="connsiteY5" fmla="*/ 11028 h 30413"/>
                    <a:gd name="connsiteX6" fmla="*/ 32772 w 41317"/>
                    <a:gd name="connsiteY6" fmla="*/ 19300 h 30413"/>
                    <a:gd name="connsiteX7" fmla="*/ 18419 w 41317"/>
                    <a:gd name="connsiteY7" fmla="*/ 19300 h 30413"/>
                    <a:gd name="connsiteX8" fmla="*/ 17382 w 41317"/>
                    <a:gd name="connsiteY8" fmla="*/ 22143 h 30413"/>
                    <a:gd name="connsiteX9" fmla="*/ 33394 w 41317"/>
                    <a:gd name="connsiteY9" fmla="*/ 22143 h 30413"/>
                    <a:gd name="connsiteX10" fmla="*/ 30449 w 41317"/>
                    <a:gd name="connsiteY10" fmla="*/ 30414 h 30413"/>
                    <a:gd name="connsiteX11" fmla="*/ 0 w 41317"/>
                    <a:gd name="connsiteY11" fmla="*/ 30414 h 30413"/>
                    <a:gd name="connsiteX12" fmla="*/ 10869 w 41317"/>
                    <a:gd name="connsiteY12" fmla="*/ 0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317" h="30413">
                      <a:moveTo>
                        <a:pt x="10869" y="0"/>
                      </a:moveTo>
                      <a:lnTo>
                        <a:pt x="41318" y="0"/>
                      </a:lnTo>
                      <a:lnTo>
                        <a:pt x="38372" y="8271"/>
                      </a:lnTo>
                      <a:lnTo>
                        <a:pt x="22360" y="8271"/>
                      </a:lnTo>
                      <a:lnTo>
                        <a:pt x="21364" y="11028"/>
                      </a:lnTo>
                      <a:lnTo>
                        <a:pt x="35800" y="11028"/>
                      </a:lnTo>
                      <a:lnTo>
                        <a:pt x="32772" y="19300"/>
                      </a:lnTo>
                      <a:lnTo>
                        <a:pt x="18419" y="19300"/>
                      </a:lnTo>
                      <a:lnTo>
                        <a:pt x="17382" y="22143"/>
                      </a:lnTo>
                      <a:lnTo>
                        <a:pt x="33394" y="22143"/>
                      </a:lnTo>
                      <a:lnTo>
                        <a:pt x="30449" y="30414"/>
                      </a:lnTo>
                      <a:lnTo>
                        <a:pt x="0" y="30414"/>
                      </a:lnTo>
                      <a:lnTo>
                        <a:pt x="10869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66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1713315" y="2757139"/>
                <a:ext cx="200656" cy="30457"/>
                <a:chOff x="1713315" y="2757139"/>
                <a:chExt cx="200656" cy="30457"/>
              </a:xfrm>
              <a:solidFill>
                <a:srgbClr val="27509B"/>
              </a:solidFill>
            </p:grpSpPr>
            <p:sp>
              <p:nvSpPr>
                <p:cNvPr id="367" name="Freeform: Shape 366">
                  <a:extLst>
                    <a:ext uri="{FF2B5EF4-FFF2-40B4-BE49-F238E27FC236}">
                      <a16:creationId xmlns:a16="http://schemas.microsoft.com/office/drawing/2014/main" id="{C07F1BEE-298F-4EDA-B5CC-989883CE35C5}"/>
                    </a:ext>
                  </a:extLst>
                </p:cNvPr>
                <p:cNvSpPr/>
                <p:nvPr/>
              </p:nvSpPr>
              <p:spPr>
                <a:xfrm>
                  <a:off x="1713315" y="2757182"/>
                  <a:ext cx="31569" cy="30370"/>
                </a:xfrm>
                <a:custGeom>
                  <a:avLst/>
                  <a:gdLst>
                    <a:gd name="connsiteX0" fmla="*/ 10827 w 31569"/>
                    <a:gd name="connsiteY0" fmla="*/ 0 h 30370"/>
                    <a:gd name="connsiteX1" fmla="*/ 25305 w 31569"/>
                    <a:gd name="connsiteY1" fmla="*/ 0 h 30370"/>
                    <a:gd name="connsiteX2" fmla="*/ 17714 w 31569"/>
                    <a:gd name="connsiteY2" fmla="*/ 21281 h 30370"/>
                    <a:gd name="connsiteX3" fmla="*/ 31569 w 31569"/>
                    <a:gd name="connsiteY3" fmla="*/ 21281 h 30370"/>
                    <a:gd name="connsiteX4" fmla="*/ 28292 w 31569"/>
                    <a:gd name="connsiteY4" fmla="*/ 30371 h 30370"/>
                    <a:gd name="connsiteX5" fmla="*/ 0 w 31569"/>
                    <a:gd name="connsiteY5" fmla="*/ 30371 h 30370"/>
                    <a:gd name="connsiteX6" fmla="*/ 10827 w 31569"/>
                    <a:gd name="connsiteY6" fmla="*/ 0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569" h="30370">
                      <a:moveTo>
                        <a:pt x="10827" y="0"/>
                      </a:moveTo>
                      <a:lnTo>
                        <a:pt x="25305" y="0"/>
                      </a:lnTo>
                      <a:lnTo>
                        <a:pt x="17714" y="21281"/>
                      </a:lnTo>
                      <a:lnTo>
                        <a:pt x="31569" y="21281"/>
                      </a:lnTo>
                      <a:lnTo>
                        <a:pt x="28292" y="30371"/>
                      </a:lnTo>
                      <a:lnTo>
                        <a:pt x="0" y="30371"/>
                      </a:lnTo>
                      <a:lnTo>
                        <a:pt x="10827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8" name="Freeform: Shape 367">
                  <a:extLst>
                    <a:ext uri="{FF2B5EF4-FFF2-40B4-BE49-F238E27FC236}">
                      <a16:creationId xmlns:a16="http://schemas.microsoft.com/office/drawing/2014/main" id="{6C6BF727-3DA8-4A64-85A1-9C466EDC70A8}"/>
                    </a:ext>
                  </a:extLst>
                </p:cNvPr>
                <p:cNvSpPr/>
                <p:nvPr/>
              </p:nvSpPr>
              <p:spPr>
                <a:xfrm>
                  <a:off x="1745756" y="2757182"/>
                  <a:ext cx="41317" cy="30413"/>
                </a:xfrm>
                <a:custGeom>
                  <a:avLst/>
                  <a:gdLst>
                    <a:gd name="connsiteX0" fmla="*/ 10869 w 41317"/>
                    <a:gd name="connsiteY0" fmla="*/ 0 h 30413"/>
                    <a:gd name="connsiteX1" fmla="*/ 41318 w 41317"/>
                    <a:gd name="connsiteY1" fmla="*/ 0 h 30413"/>
                    <a:gd name="connsiteX2" fmla="*/ 38372 w 41317"/>
                    <a:gd name="connsiteY2" fmla="*/ 8271 h 30413"/>
                    <a:gd name="connsiteX3" fmla="*/ 22360 w 41317"/>
                    <a:gd name="connsiteY3" fmla="*/ 8271 h 30413"/>
                    <a:gd name="connsiteX4" fmla="*/ 21364 w 41317"/>
                    <a:gd name="connsiteY4" fmla="*/ 11028 h 30413"/>
                    <a:gd name="connsiteX5" fmla="*/ 35800 w 41317"/>
                    <a:gd name="connsiteY5" fmla="*/ 11028 h 30413"/>
                    <a:gd name="connsiteX6" fmla="*/ 32772 w 41317"/>
                    <a:gd name="connsiteY6" fmla="*/ 19300 h 30413"/>
                    <a:gd name="connsiteX7" fmla="*/ 18419 w 41317"/>
                    <a:gd name="connsiteY7" fmla="*/ 19300 h 30413"/>
                    <a:gd name="connsiteX8" fmla="*/ 17382 w 41317"/>
                    <a:gd name="connsiteY8" fmla="*/ 22143 h 30413"/>
                    <a:gd name="connsiteX9" fmla="*/ 33394 w 41317"/>
                    <a:gd name="connsiteY9" fmla="*/ 22143 h 30413"/>
                    <a:gd name="connsiteX10" fmla="*/ 30449 w 41317"/>
                    <a:gd name="connsiteY10" fmla="*/ 30414 h 30413"/>
                    <a:gd name="connsiteX11" fmla="*/ 0 w 41317"/>
                    <a:gd name="connsiteY11" fmla="*/ 30414 h 30413"/>
                    <a:gd name="connsiteX12" fmla="*/ 10869 w 41317"/>
                    <a:gd name="connsiteY12" fmla="*/ 0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317" h="30413">
                      <a:moveTo>
                        <a:pt x="10869" y="0"/>
                      </a:moveTo>
                      <a:lnTo>
                        <a:pt x="41318" y="0"/>
                      </a:lnTo>
                      <a:lnTo>
                        <a:pt x="38372" y="8271"/>
                      </a:lnTo>
                      <a:lnTo>
                        <a:pt x="22360" y="8271"/>
                      </a:lnTo>
                      <a:lnTo>
                        <a:pt x="21364" y="11028"/>
                      </a:lnTo>
                      <a:lnTo>
                        <a:pt x="35800" y="11028"/>
                      </a:lnTo>
                      <a:lnTo>
                        <a:pt x="32772" y="19300"/>
                      </a:lnTo>
                      <a:lnTo>
                        <a:pt x="18419" y="19300"/>
                      </a:lnTo>
                      <a:lnTo>
                        <a:pt x="17382" y="22143"/>
                      </a:lnTo>
                      <a:lnTo>
                        <a:pt x="33394" y="22143"/>
                      </a:lnTo>
                      <a:lnTo>
                        <a:pt x="30449" y="30414"/>
                      </a:lnTo>
                      <a:lnTo>
                        <a:pt x="0" y="30414"/>
                      </a:lnTo>
                      <a:lnTo>
                        <a:pt x="10869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9" name="Freeform: Shape 368">
                  <a:extLst>
                    <a:ext uri="{FF2B5EF4-FFF2-40B4-BE49-F238E27FC236}">
                      <a16:creationId xmlns:a16="http://schemas.microsoft.com/office/drawing/2014/main" id="{113549D7-BAB5-4A49-9BAB-808B72AFF860}"/>
                    </a:ext>
                  </a:extLst>
                </p:cNvPr>
                <p:cNvSpPr/>
                <p:nvPr/>
              </p:nvSpPr>
              <p:spPr>
                <a:xfrm>
                  <a:off x="1779109" y="2757182"/>
                  <a:ext cx="42437" cy="30370"/>
                </a:xfrm>
                <a:custGeom>
                  <a:avLst/>
                  <a:gdLst>
                    <a:gd name="connsiteX0" fmla="*/ 28375 w 42437"/>
                    <a:gd name="connsiteY0" fmla="*/ 26063 h 30370"/>
                    <a:gd name="connsiteX1" fmla="*/ 17506 w 42437"/>
                    <a:gd name="connsiteY1" fmla="*/ 26063 h 30370"/>
                    <a:gd name="connsiteX2" fmla="*/ 14851 w 42437"/>
                    <a:gd name="connsiteY2" fmla="*/ 30371 h 30370"/>
                    <a:gd name="connsiteX3" fmla="*/ 0 w 42437"/>
                    <a:gd name="connsiteY3" fmla="*/ 30371 h 30370"/>
                    <a:gd name="connsiteX4" fmla="*/ 17382 w 42437"/>
                    <a:gd name="connsiteY4" fmla="*/ 4696 h 30370"/>
                    <a:gd name="connsiteX5" fmla="*/ 25430 w 42437"/>
                    <a:gd name="connsiteY5" fmla="*/ 0 h 30370"/>
                    <a:gd name="connsiteX6" fmla="*/ 42438 w 42437"/>
                    <a:gd name="connsiteY6" fmla="*/ 0 h 30370"/>
                    <a:gd name="connsiteX7" fmla="*/ 41608 w 42437"/>
                    <a:gd name="connsiteY7" fmla="*/ 30371 h 30370"/>
                    <a:gd name="connsiteX8" fmla="*/ 28126 w 42437"/>
                    <a:gd name="connsiteY8" fmla="*/ 30371 h 30370"/>
                    <a:gd name="connsiteX9" fmla="*/ 28375 w 42437"/>
                    <a:gd name="connsiteY9" fmla="*/ 26063 h 30370"/>
                    <a:gd name="connsiteX10" fmla="*/ 29412 w 42437"/>
                    <a:gd name="connsiteY10" fmla="*/ 6936 h 30370"/>
                    <a:gd name="connsiteX11" fmla="*/ 22940 w 42437"/>
                    <a:gd name="connsiteY11" fmla="*/ 17361 h 30370"/>
                    <a:gd name="connsiteX12" fmla="*/ 28831 w 42437"/>
                    <a:gd name="connsiteY12" fmla="*/ 17361 h 30370"/>
                    <a:gd name="connsiteX13" fmla="*/ 29412 w 42437"/>
                    <a:gd name="connsiteY13" fmla="*/ 6936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2437" h="30370">
                      <a:moveTo>
                        <a:pt x="28375" y="26063"/>
                      </a:moveTo>
                      <a:lnTo>
                        <a:pt x="17506" y="26063"/>
                      </a:lnTo>
                      <a:lnTo>
                        <a:pt x="14851" y="30371"/>
                      </a:lnTo>
                      <a:lnTo>
                        <a:pt x="0" y="30371"/>
                      </a:lnTo>
                      <a:lnTo>
                        <a:pt x="17382" y="4696"/>
                      </a:lnTo>
                      <a:cubicBezTo>
                        <a:pt x="19663" y="1335"/>
                        <a:pt x="21903" y="0"/>
                        <a:pt x="25430" y="0"/>
                      </a:cubicBezTo>
                      <a:lnTo>
                        <a:pt x="42438" y="0"/>
                      </a:lnTo>
                      <a:lnTo>
                        <a:pt x="41608" y="30371"/>
                      </a:lnTo>
                      <a:lnTo>
                        <a:pt x="28126" y="30371"/>
                      </a:lnTo>
                      <a:lnTo>
                        <a:pt x="28375" y="26063"/>
                      </a:lnTo>
                      <a:close/>
                      <a:moveTo>
                        <a:pt x="29412" y="6936"/>
                      </a:moveTo>
                      <a:lnTo>
                        <a:pt x="22940" y="17361"/>
                      </a:lnTo>
                      <a:lnTo>
                        <a:pt x="28831" y="17361"/>
                      </a:lnTo>
                      <a:lnTo>
                        <a:pt x="29412" y="6936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0" name="Freeform: Shape 369">
                  <a:extLst>
                    <a:ext uri="{FF2B5EF4-FFF2-40B4-BE49-F238E27FC236}">
                      <a16:creationId xmlns:a16="http://schemas.microsoft.com/office/drawing/2014/main" id="{93ACE930-28A6-420F-B1B6-D1D562388D36}"/>
                    </a:ext>
                  </a:extLst>
                </p:cNvPr>
                <p:cNvSpPr/>
                <p:nvPr/>
              </p:nvSpPr>
              <p:spPr>
                <a:xfrm>
                  <a:off x="1823579" y="2757182"/>
                  <a:ext cx="42597" cy="30370"/>
                </a:xfrm>
                <a:custGeom>
                  <a:avLst/>
                  <a:gdLst>
                    <a:gd name="connsiteX0" fmla="*/ 18834 w 42597"/>
                    <a:gd name="connsiteY0" fmla="*/ 22358 h 30370"/>
                    <a:gd name="connsiteX1" fmla="*/ 17340 w 42597"/>
                    <a:gd name="connsiteY1" fmla="*/ 22358 h 30370"/>
                    <a:gd name="connsiteX2" fmla="*/ 14478 w 42597"/>
                    <a:gd name="connsiteY2" fmla="*/ 30371 h 30370"/>
                    <a:gd name="connsiteX3" fmla="*/ 0 w 42597"/>
                    <a:gd name="connsiteY3" fmla="*/ 30371 h 30370"/>
                    <a:gd name="connsiteX4" fmla="*/ 10869 w 42597"/>
                    <a:gd name="connsiteY4" fmla="*/ 0 h 30370"/>
                    <a:gd name="connsiteX5" fmla="*/ 28665 w 42597"/>
                    <a:gd name="connsiteY5" fmla="*/ 0 h 30370"/>
                    <a:gd name="connsiteX6" fmla="*/ 41691 w 42597"/>
                    <a:gd name="connsiteY6" fmla="*/ 12881 h 30370"/>
                    <a:gd name="connsiteX7" fmla="*/ 31943 w 42597"/>
                    <a:gd name="connsiteY7" fmla="*/ 20161 h 30370"/>
                    <a:gd name="connsiteX8" fmla="*/ 36589 w 42597"/>
                    <a:gd name="connsiteY8" fmla="*/ 30371 h 30370"/>
                    <a:gd name="connsiteX9" fmla="*/ 21696 w 42597"/>
                    <a:gd name="connsiteY9" fmla="*/ 30371 h 30370"/>
                    <a:gd name="connsiteX10" fmla="*/ 18834 w 42597"/>
                    <a:gd name="connsiteY10" fmla="*/ 22358 h 30370"/>
                    <a:gd name="connsiteX11" fmla="*/ 22401 w 42597"/>
                    <a:gd name="connsiteY11" fmla="*/ 8228 h 30370"/>
                    <a:gd name="connsiteX12" fmla="*/ 20285 w 42597"/>
                    <a:gd name="connsiteY12" fmla="*/ 14044 h 30370"/>
                    <a:gd name="connsiteX13" fmla="*/ 22069 w 42597"/>
                    <a:gd name="connsiteY13" fmla="*/ 14044 h 30370"/>
                    <a:gd name="connsiteX14" fmla="*/ 27421 w 42597"/>
                    <a:gd name="connsiteY14" fmla="*/ 11373 h 30370"/>
                    <a:gd name="connsiteX15" fmla="*/ 24641 w 42597"/>
                    <a:gd name="connsiteY15" fmla="*/ 8228 h 30370"/>
                    <a:gd name="connsiteX16" fmla="*/ 22401 w 42597"/>
                    <a:gd name="connsiteY16" fmla="*/ 8228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2597" h="30370">
                      <a:moveTo>
                        <a:pt x="18834" y="22358"/>
                      </a:moveTo>
                      <a:lnTo>
                        <a:pt x="17340" y="22358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8665" y="0"/>
                      </a:lnTo>
                      <a:cubicBezTo>
                        <a:pt x="40903" y="0"/>
                        <a:pt x="44512" y="4825"/>
                        <a:pt x="41691" y="12881"/>
                      </a:cubicBezTo>
                      <a:cubicBezTo>
                        <a:pt x="40073" y="17447"/>
                        <a:pt x="36920" y="19386"/>
                        <a:pt x="31943" y="20161"/>
                      </a:cubicBezTo>
                      <a:lnTo>
                        <a:pt x="36589" y="30371"/>
                      </a:lnTo>
                      <a:lnTo>
                        <a:pt x="21696" y="30371"/>
                      </a:lnTo>
                      <a:lnTo>
                        <a:pt x="18834" y="22358"/>
                      </a:lnTo>
                      <a:close/>
                      <a:moveTo>
                        <a:pt x="22401" y="8228"/>
                      </a:moveTo>
                      <a:lnTo>
                        <a:pt x="20285" y="14044"/>
                      </a:lnTo>
                      <a:lnTo>
                        <a:pt x="22069" y="14044"/>
                      </a:lnTo>
                      <a:cubicBezTo>
                        <a:pt x="25222" y="14044"/>
                        <a:pt x="26508" y="13915"/>
                        <a:pt x="27421" y="11373"/>
                      </a:cubicBezTo>
                      <a:cubicBezTo>
                        <a:pt x="28084" y="9607"/>
                        <a:pt x="27919" y="8228"/>
                        <a:pt x="24641" y="8228"/>
                      </a:cubicBezTo>
                      <a:lnTo>
                        <a:pt x="22401" y="8228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1" name="Freeform: Shape 370">
                  <a:extLst>
                    <a:ext uri="{FF2B5EF4-FFF2-40B4-BE49-F238E27FC236}">
                      <a16:creationId xmlns:a16="http://schemas.microsoft.com/office/drawing/2014/main" id="{0DF0D8EF-D5CD-4B79-BCD7-BA52907C1FC5}"/>
                    </a:ext>
                  </a:extLst>
                </p:cNvPr>
                <p:cNvSpPr/>
                <p:nvPr/>
              </p:nvSpPr>
              <p:spPr>
                <a:xfrm>
                  <a:off x="1863486" y="2757139"/>
                  <a:ext cx="50485" cy="30413"/>
                </a:xfrm>
                <a:custGeom>
                  <a:avLst/>
                  <a:gdLst>
                    <a:gd name="connsiteX0" fmla="*/ 19705 w 50485"/>
                    <a:gd name="connsiteY0" fmla="*/ 9994 h 30413"/>
                    <a:gd name="connsiteX1" fmla="*/ 12404 w 50485"/>
                    <a:gd name="connsiteY1" fmla="*/ 30414 h 30413"/>
                    <a:gd name="connsiteX2" fmla="*/ 0 w 50485"/>
                    <a:gd name="connsiteY2" fmla="*/ 30414 h 30413"/>
                    <a:gd name="connsiteX3" fmla="*/ 10869 w 50485"/>
                    <a:gd name="connsiteY3" fmla="*/ 43 h 30413"/>
                    <a:gd name="connsiteX4" fmla="*/ 26923 w 50485"/>
                    <a:gd name="connsiteY4" fmla="*/ 43 h 30413"/>
                    <a:gd name="connsiteX5" fmla="*/ 31403 w 50485"/>
                    <a:gd name="connsiteY5" fmla="*/ 5686 h 30413"/>
                    <a:gd name="connsiteX6" fmla="*/ 30698 w 50485"/>
                    <a:gd name="connsiteY6" fmla="*/ 20807 h 30413"/>
                    <a:gd name="connsiteX7" fmla="*/ 38124 w 50485"/>
                    <a:gd name="connsiteY7" fmla="*/ 0 h 30413"/>
                    <a:gd name="connsiteX8" fmla="*/ 50486 w 50485"/>
                    <a:gd name="connsiteY8" fmla="*/ 0 h 30413"/>
                    <a:gd name="connsiteX9" fmla="*/ 39617 w 50485"/>
                    <a:gd name="connsiteY9" fmla="*/ 30371 h 30413"/>
                    <a:gd name="connsiteX10" fmla="*/ 18792 w 50485"/>
                    <a:gd name="connsiteY10" fmla="*/ 30371 h 30413"/>
                    <a:gd name="connsiteX11" fmla="*/ 19705 w 50485"/>
                    <a:gd name="connsiteY11" fmla="*/ 9994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0485" h="30413">
                      <a:moveTo>
                        <a:pt x="19705" y="9994"/>
                      </a:moveTo>
                      <a:lnTo>
                        <a:pt x="12404" y="30414"/>
                      </a:lnTo>
                      <a:lnTo>
                        <a:pt x="0" y="30414"/>
                      </a:lnTo>
                      <a:lnTo>
                        <a:pt x="10869" y="43"/>
                      </a:lnTo>
                      <a:lnTo>
                        <a:pt x="26923" y="43"/>
                      </a:lnTo>
                      <a:cubicBezTo>
                        <a:pt x="30491" y="43"/>
                        <a:pt x="31569" y="2326"/>
                        <a:pt x="31403" y="5686"/>
                      </a:cubicBezTo>
                      <a:lnTo>
                        <a:pt x="30698" y="20807"/>
                      </a:lnTo>
                      <a:lnTo>
                        <a:pt x="38124" y="0"/>
                      </a:lnTo>
                      <a:lnTo>
                        <a:pt x="50486" y="0"/>
                      </a:lnTo>
                      <a:lnTo>
                        <a:pt x="39617" y="30371"/>
                      </a:lnTo>
                      <a:lnTo>
                        <a:pt x="18792" y="30371"/>
                      </a:lnTo>
                      <a:lnTo>
                        <a:pt x="19705" y="9994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72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592757" y="2756320"/>
                <a:ext cx="365886" cy="32050"/>
                <a:chOff x="592757" y="2756320"/>
                <a:chExt cx="365886" cy="32050"/>
              </a:xfrm>
              <a:solidFill>
                <a:srgbClr val="27509B"/>
              </a:solidFill>
            </p:grpSpPr>
            <p:sp>
              <p:nvSpPr>
                <p:cNvPr id="373" name="Freeform: Shape 372">
                  <a:extLst>
                    <a:ext uri="{FF2B5EF4-FFF2-40B4-BE49-F238E27FC236}">
                      <a16:creationId xmlns:a16="http://schemas.microsoft.com/office/drawing/2014/main" id="{D76E74EB-2065-46B0-8A9A-14711B9261B7}"/>
                    </a:ext>
                  </a:extLst>
                </p:cNvPr>
                <p:cNvSpPr/>
                <p:nvPr/>
              </p:nvSpPr>
              <p:spPr>
                <a:xfrm>
                  <a:off x="592757" y="2757182"/>
                  <a:ext cx="46835" cy="30370"/>
                </a:xfrm>
                <a:custGeom>
                  <a:avLst/>
                  <a:gdLst>
                    <a:gd name="connsiteX0" fmla="*/ 25305 w 46835"/>
                    <a:gd name="connsiteY0" fmla="*/ 19730 h 30370"/>
                    <a:gd name="connsiteX1" fmla="*/ 18294 w 46835"/>
                    <a:gd name="connsiteY1" fmla="*/ 19730 h 30370"/>
                    <a:gd name="connsiteX2" fmla="*/ 14478 w 46835"/>
                    <a:gd name="connsiteY2" fmla="*/ 30371 h 30370"/>
                    <a:gd name="connsiteX3" fmla="*/ 0 w 46835"/>
                    <a:gd name="connsiteY3" fmla="*/ 30371 h 30370"/>
                    <a:gd name="connsiteX4" fmla="*/ 10869 w 46835"/>
                    <a:gd name="connsiteY4" fmla="*/ 0 h 30370"/>
                    <a:gd name="connsiteX5" fmla="*/ 25347 w 46835"/>
                    <a:gd name="connsiteY5" fmla="*/ 0 h 30370"/>
                    <a:gd name="connsiteX6" fmla="*/ 21530 w 46835"/>
                    <a:gd name="connsiteY6" fmla="*/ 10641 h 30370"/>
                    <a:gd name="connsiteX7" fmla="*/ 28541 w 46835"/>
                    <a:gd name="connsiteY7" fmla="*/ 10641 h 30370"/>
                    <a:gd name="connsiteX8" fmla="*/ 32357 w 46835"/>
                    <a:gd name="connsiteY8" fmla="*/ 0 h 30370"/>
                    <a:gd name="connsiteX9" fmla="*/ 46835 w 46835"/>
                    <a:gd name="connsiteY9" fmla="*/ 0 h 30370"/>
                    <a:gd name="connsiteX10" fmla="*/ 35966 w 46835"/>
                    <a:gd name="connsiteY10" fmla="*/ 30371 h 30370"/>
                    <a:gd name="connsiteX11" fmla="*/ 21489 w 46835"/>
                    <a:gd name="connsiteY11" fmla="*/ 30371 h 30370"/>
                    <a:gd name="connsiteX12" fmla="*/ 25305 w 46835"/>
                    <a:gd name="connsiteY12" fmla="*/ 19730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6835" h="30370">
                      <a:moveTo>
                        <a:pt x="25305" y="19730"/>
                      </a:moveTo>
                      <a:lnTo>
                        <a:pt x="18294" y="19730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5347" y="0"/>
                      </a:lnTo>
                      <a:lnTo>
                        <a:pt x="21530" y="10641"/>
                      </a:lnTo>
                      <a:lnTo>
                        <a:pt x="28541" y="10641"/>
                      </a:lnTo>
                      <a:lnTo>
                        <a:pt x="32357" y="0"/>
                      </a:lnTo>
                      <a:lnTo>
                        <a:pt x="46835" y="0"/>
                      </a:lnTo>
                      <a:lnTo>
                        <a:pt x="35966" y="30371"/>
                      </a:lnTo>
                      <a:lnTo>
                        <a:pt x="21489" y="30371"/>
                      </a:lnTo>
                      <a:lnTo>
                        <a:pt x="25305" y="1973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4" name="Freeform: Shape 373">
                  <a:extLst>
                    <a:ext uri="{FF2B5EF4-FFF2-40B4-BE49-F238E27FC236}">
                      <a16:creationId xmlns:a16="http://schemas.microsoft.com/office/drawing/2014/main" id="{B650B172-57A8-4931-86A9-83E020A11399}"/>
                    </a:ext>
                  </a:extLst>
                </p:cNvPr>
                <p:cNvSpPr/>
                <p:nvPr/>
              </p:nvSpPr>
              <p:spPr>
                <a:xfrm>
                  <a:off x="642496" y="2757182"/>
                  <a:ext cx="41566" cy="30370"/>
                </a:xfrm>
                <a:custGeom>
                  <a:avLst/>
                  <a:gdLst>
                    <a:gd name="connsiteX0" fmla="*/ 2489 w 41566"/>
                    <a:gd name="connsiteY0" fmla="*/ 30371 h 30370"/>
                    <a:gd name="connsiteX1" fmla="*/ 6223 w 41566"/>
                    <a:gd name="connsiteY1" fmla="*/ 19903 h 30370"/>
                    <a:gd name="connsiteX2" fmla="*/ 0 w 41566"/>
                    <a:gd name="connsiteY2" fmla="*/ 0 h 30370"/>
                    <a:gd name="connsiteX3" fmla="*/ 13441 w 41566"/>
                    <a:gd name="connsiteY3" fmla="*/ 0 h 30370"/>
                    <a:gd name="connsiteX4" fmla="*/ 16220 w 41566"/>
                    <a:gd name="connsiteY4" fmla="*/ 10167 h 30370"/>
                    <a:gd name="connsiteX5" fmla="*/ 25471 w 41566"/>
                    <a:gd name="connsiteY5" fmla="*/ 0 h 30370"/>
                    <a:gd name="connsiteX6" fmla="*/ 41567 w 41566"/>
                    <a:gd name="connsiteY6" fmla="*/ 0 h 30370"/>
                    <a:gd name="connsiteX7" fmla="*/ 20286 w 41566"/>
                    <a:gd name="connsiteY7" fmla="*/ 20937 h 30370"/>
                    <a:gd name="connsiteX8" fmla="*/ 16925 w 41566"/>
                    <a:gd name="connsiteY8" fmla="*/ 30371 h 30370"/>
                    <a:gd name="connsiteX9" fmla="*/ 2489 w 41566"/>
                    <a:gd name="connsiteY9" fmla="*/ 303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1566" h="30370">
                      <a:moveTo>
                        <a:pt x="2489" y="30371"/>
                      </a:moveTo>
                      <a:lnTo>
                        <a:pt x="6223" y="19903"/>
                      </a:lnTo>
                      <a:lnTo>
                        <a:pt x="0" y="0"/>
                      </a:lnTo>
                      <a:lnTo>
                        <a:pt x="13441" y="0"/>
                      </a:lnTo>
                      <a:lnTo>
                        <a:pt x="16220" y="10167"/>
                      </a:lnTo>
                      <a:lnTo>
                        <a:pt x="25471" y="0"/>
                      </a:lnTo>
                      <a:lnTo>
                        <a:pt x="41567" y="0"/>
                      </a:lnTo>
                      <a:lnTo>
                        <a:pt x="20286" y="20937"/>
                      </a:lnTo>
                      <a:lnTo>
                        <a:pt x="16925" y="30371"/>
                      </a:lnTo>
                      <a:lnTo>
                        <a:pt x="2489" y="303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5" name="Freeform: Shape 374">
                  <a:extLst>
                    <a:ext uri="{FF2B5EF4-FFF2-40B4-BE49-F238E27FC236}">
                      <a16:creationId xmlns:a16="http://schemas.microsoft.com/office/drawing/2014/main" id="{77C8EA8C-F28F-43C4-971A-B2AE041DDF2C}"/>
                    </a:ext>
                  </a:extLst>
                </p:cNvPr>
                <p:cNvSpPr/>
                <p:nvPr/>
              </p:nvSpPr>
              <p:spPr>
                <a:xfrm>
                  <a:off x="676098" y="2757182"/>
                  <a:ext cx="42285" cy="30370"/>
                </a:xfrm>
                <a:custGeom>
                  <a:avLst/>
                  <a:gdLst>
                    <a:gd name="connsiteX0" fmla="*/ 16759 w 42285"/>
                    <a:gd name="connsiteY0" fmla="*/ 24038 h 30370"/>
                    <a:gd name="connsiteX1" fmla="*/ 14478 w 42285"/>
                    <a:gd name="connsiteY1" fmla="*/ 30371 h 30370"/>
                    <a:gd name="connsiteX2" fmla="*/ 0 w 42285"/>
                    <a:gd name="connsiteY2" fmla="*/ 30371 h 30370"/>
                    <a:gd name="connsiteX3" fmla="*/ 10869 w 42285"/>
                    <a:gd name="connsiteY3" fmla="*/ 0 h 30370"/>
                    <a:gd name="connsiteX4" fmla="*/ 27711 w 42285"/>
                    <a:gd name="connsiteY4" fmla="*/ 0 h 30370"/>
                    <a:gd name="connsiteX5" fmla="*/ 41235 w 42285"/>
                    <a:gd name="connsiteY5" fmla="*/ 14345 h 30370"/>
                    <a:gd name="connsiteX6" fmla="*/ 22982 w 42285"/>
                    <a:gd name="connsiteY6" fmla="*/ 24038 h 30370"/>
                    <a:gd name="connsiteX7" fmla="*/ 16759 w 42285"/>
                    <a:gd name="connsiteY7" fmla="*/ 24038 h 30370"/>
                    <a:gd name="connsiteX8" fmla="*/ 22401 w 42285"/>
                    <a:gd name="connsiteY8" fmla="*/ 8228 h 30370"/>
                    <a:gd name="connsiteX9" fmla="*/ 19705 w 42285"/>
                    <a:gd name="connsiteY9" fmla="*/ 15724 h 30370"/>
                    <a:gd name="connsiteX10" fmla="*/ 21074 w 42285"/>
                    <a:gd name="connsiteY10" fmla="*/ 15724 h 30370"/>
                    <a:gd name="connsiteX11" fmla="*/ 27213 w 42285"/>
                    <a:gd name="connsiteY11" fmla="*/ 12234 h 30370"/>
                    <a:gd name="connsiteX12" fmla="*/ 24641 w 42285"/>
                    <a:gd name="connsiteY12" fmla="*/ 8228 h 30370"/>
                    <a:gd name="connsiteX13" fmla="*/ 22401 w 42285"/>
                    <a:gd name="connsiteY13" fmla="*/ 8228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2285" h="30370">
                      <a:moveTo>
                        <a:pt x="16759" y="24038"/>
                      </a:move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7711" y="0"/>
                      </a:lnTo>
                      <a:cubicBezTo>
                        <a:pt x="41318" y="0"/>
                        <a:pt x="44180" y="6160"/>
                        <a:pt x="41235" y="14345"/>
                      </a:cubicBezTo>
                      <a:cubicBezTo>
                        <a:pt x="38289" y="22444"/>
                        <a:pt x="31569" y="24038"/>
                        <a:pt x="22982" y="24038"/>
                      </a:cubicBezTo>
                      <a:lnTo>
                        <a:pt x="16759" y="24038"/>
                      </a:lnTo>
                      <a:close/>
                      <a:moveTo>
                        <a:pt x="22401" y="8228"/>
                      </a:moveTo>
                      <a:lnTo>
                        <a:pt x="19705" y="15724"/>
                      </a:lnTo>
                      <a:lnTo>
                        <a:pt x="21074" y="15724"/>
                      </a:lnTo>
                      <a:cubicBezTo>
                        <a:pt x="25056" y="15724"/>
                        <a:pt x="26259" y="14905"/>
                        <a:pt x="27213" y="12234"/>
                      </a:cubicBezTo>
                      <a:cubicBezTo>
                        <a:pt x="28167" y="9607"/>
                        <a:pt x="27836" y="8228"/>
                        <a:pt x="24641" y="8228"/>
                      </a:cubicBezTo>
                      <a:lnTo>
                        <a:pt x="22401" y="8228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6" name="Freeform: Shape 375">
                  <a:extLst>
                    <a:ext uri="{FF2B5EF4-FFF2-40B4-BE49-F238E27FC236}">
                      <a16:creationId xmlns:a16="http://schemas.microsoft.com/office/drawing/2014/main" id="{B8B7BE3A-B047-4E9E-A116-716838720D92}"/>
                    </a:ext>
                  </a:extLst>
                </p:cNvPr>
                <p:cNvSpPr/>
                <p:nvPr/>
              </p:nvSpPr>
              <p:spPr>
                <a:xfrm>
                  <a:off x="719119" y="2756320"/>
                  <a:ext cx="41665" cy="32050"/>
                </a:xfrm>
                <a:custGeom>
                  <a:avLst/>
                  <a:gdLst>
                    <a:gd name="connsiteX0" fmla="*/ 1408 w 41665"/>
                    <a:gd name="connsiteY0" fmla="*/ 13829 h 32050"/>
                    <a:gd name="connsiteX1" fmla="*/ 24473 w 41665"/>
                    <a:gd name="connsiteY1" fmla="*/ 0 h 32050"/>
                    <a:gd name="connsiteX2" fmla="*/ 40279 w 41665"/>
                    <a:gd name="connsiteY2" fmla="*/ 18179 h 32050"/>
                    <a:gd name="connsiteX3" fmla="*/ 17255 w 41665"/>
                    <a:gd name="connsiteY3" fmla="*/ 32051 h 32050"/>
                    <a:gd name="connsiteX4" fmla="*/ 1408 w 41665"/>
                    <a:gd name="connsiteY4" fmla="*/ 13829 h 32050"/>
                    <a:gd name="connsiteX5" fmla="*/ 26257 w 41665"/>
                    <a:gd name="connsiteY5" fmla="*/ 16930 h 32050"/>
                    <a:gd name="connsiteX6" fmla="*/ 22980 w 41665"/>
                    <a:gd name="connsiteY6" fmla="*/ 8917 h 32050"/>
                    <a:gd name="connsiteX7" fmla="*/ 15471 w 41665"/>
                    <a:gd name="connsiteY7" fmla="*/ 15164 h 32050"/>
                    <a:gd name="connsiteX8" fmla="*/ 18749 w 41665"/>
                    <a:gd name="connsiteY8" fmla="*/ 23177 h 32050"/>
                    <a:gd name="connsiteX9" fmla="*/ 26257 w 41665"/>
                    <a:gd name="connsiteY9" fmla="*/ 16930 h 32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1665" h="32050">
                      <a:moveTo>
                        <a:pt x="1408" y="13829"/>
                      </a:moveTo>
                      <a:cubicBezTo>
                        <a:pt x="5183" y="3490"/>
                        <a:pt x="12070" y="0"/>
                        <a:pt x="24473" y="0"/>
                      </a:cubicBezTo>
                      <a:cubicBezTo>
                        <a:pt x="40279" y="0"/>
                        <a:pt x="44137" y="7625"/>
                        <a:pt x="40279" y="18179"/>
                      </a:cubicBezTo>
                      <a:cubicBezTo>
                        <a:pt x="36462" y="28562"/>
                        <a:pt x="29576" y="32051"/>
                        <a:pt x="17255" y="32051"/>
                      </a:cubicBezTo>
                      <a:cubicBezTo>
                        <a:pt x="1367" y="32051"/>
                        <a:pt x="-2491" y="24426"/>
                        <a:pt x="1408" y="13829"/>
                      </a:cubicBezTo>
                      <a:close/>
                      <a:moveTo>
                        <a:pt x="26257" y="16930"/>
                      </a:moveTo>
                      <a:cubicBezTo>
                        <a:pt x="28041" y="11588"/>
                        <a:pt x="27211" y="8917"/>
                        <a:pt x="22980" y="8917"/>
                      </a:cubicBezTo>
                      <a:cubicBezTo>
                        <a:pt x="19288" y="8917"/>
                        <a:pt x="17214" y="10253"/>
                        <a:pt x="15471" y="15164"/>
                      </a:cubicBezTo>
                      <a:cubicBezTo>
                        <a:pt x="13605" y="20463"/>
                        <a:pt x="14434" y="23177"/>
                        <a:pt x="18749" y="23177"/>
                      </a:cubicBezTo>
                      <a:cubicBezTo>
                        <a:pt x="22358" y="23134"/>
                        <a:pt x="24432" y="21798"/>
                        <a:pt x="26257" y="16930"/>
                      </a:cubicBez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7" name="Freeform: Shape 376">
                  <a:extLst>
                    <a:ext uri="{FF2B5EF4-FFF2-40B4-BE49-F238E27FC236}">
                      <a16:creationId xmlns:a16="http://schemas.microsoft.com/office/drawing/2014/main" id="{F5B53F5D-385C-4C70-A4A3-0154B7A0A039}"/>
                    </a:ext>
                  </a:extLst>
                </p:cNvPr>
                <p:cNvSpPr/>
                <p:nvPr/>
              </p:nvSpPr>
              <p:spPr>
                <a:xfrm>
                  <a:off x="762509" y="2757139"/>
                  <a:ext cx="33560" cy="30370"/>
                </a:xfrm>
                <a:custGeom>
                  <a:avLst/>
                  <a:gdLst>
                    <a:gd name="connsiteX0" fmla="*/ 22567 w 33560"/>
                    <a:gd name="connsiteY0" fmla="*/ 9133 h 30370"/>
                    <a:gd name="connsiteX1" fmla="*/ 14976 w 33560"/>
                    <a:gd name="connsiteY1" fmla="*/ 30371 h 30370"/>
                    <a:gd name="connsiteX2" fmla="*/ 498 w 33560"/>
                    <a:gd name="connsiteY2" fmla="*/ 30371 h 30370"/>
                    <a:gd name="connsiteX3" fmla="*/ 8089 w 33560"/>
                    <a:gd name="connsiteY3" fmla="*/ 9133 h 30370"/>
                    <a:gd name="connsiteX4" fmla="*/ 0 w 33560"/>
                    <a:gd name="connsiteY4" fmla="*/ 9133 h 30370"/>
                    <a:gd name="connsiteX5" fmla="*/ 3277 w 33560"/>
                    <a:gd name="connsiteY5" fmla="*/ 0 h 30370"/>
                    <a:gd name="connsiteX6" fmla="*/ 33560 w 33560"/>
                    <a:gd name="connsiteY6" fmla="*/ 0 h 30370"/>
                    <a:gd name="connsiteX7" fmla="*/ 30283 w 33560"/>
                    <a:gd name="connsiteY7" fmla="*/ 9133 h 30370"/>
                    <a:gd name="connsiteX8" fmla="*/ 22567 w 33560"/>
                    <a:gd name="connsiteY8" fmla="*/ 9133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3560" h="30370">
                      <a:moveTo>
                        <a:pt x="22567" y="9133"/>
                      </a:moveTo>
                      <a:lnTo>
                        <a:pt x="14976" y="30371"/>
                      </a:lnTo>
                      <a:lnTo>
                        <a:pt x="498" y="30371"/>
                      </a:lnTo>
                      <a:lnTo>
                        <a:pt x="8089" y="9133"/>
                      </a:lnTo>
                      <a:lnTo>
                        <a:pt x="0" y="9133"/>
                      </a:lnTo>
                      <a:lnTo>
                        <a:pt x="3277" y="0"/>
                      </a:lnTo>
                      <a:lnTo>
                        <a:pt x="33560" y="0"/>
                      </a:lnTo>
                      <a:lnTo>
                        <a:pt x="30283" y="9133"/>
                      </a:lnTo>
                      <a:lnTo>
                        <a:pt x="22567" y="9133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8" name="Freeform: Shape 377">
                  <a:extLst>
                    <a:ext uri="{FF2B5EF4-FFF2-40B4-BE49-F238E27FC236}">
                      <a16:creationId xmlns:a16="http://schemas.microsoft.com/office/drawing/2014/main" id="{A9349907-0DBA-4DBA-8C3B-8CEBB36411BA}"/>
                    </a:ext>
                  </a:extLst>
                </p:cNvPr>
                <p:cNvSpPr/>
                <p:nvPr/>
              </p:nvSpPr>
              <p:spPr>
                <a:xfrm>
                  <a:off x="789349" y="2757182"/>
                  <a:ext cx="46835" cy="30370"/>
                </a:xfrm>
                <a:custGeom>
                  <a:avLst/>
                  <a:gdLst>
                    <a:gd name="connsiteX0" fmla="*/ 25305 w 46835"/>
                    <a:gd name="connsiteY0" fmla="*/ 19730 h 30370"/>
                    <a:gd name="connsiteX1" fmla="*/ 18294 w 46835"/>
                    <a:gd name="connsiteY1" fmla="*/ 19730 h 30370"/>
                    <a:gd name="connsiteX2" fmla="*/ 14478 w 46835"/>
                    <a:gd name="connsiteY2" fmla="*/ 30371 h 30370"/>
                    <a:gd name="connsiteX3" fmla="*/ 0 w 46835"/>
                    <a:gd name="connsiteY3" fmla="*/ 30371 h 30370"/>
                    <a:gd name="connsiteX4" fmla="*/ 10869 w 46835"/>
                    <a:gd name="connsiteY4" fmla="*/ 0 h 30370"/>
                    <a:gd name="connsiteX5" fmla="*/ 25347 w 46835"/>
                    <a:gd name="connsiteY5" fmla="*/ 0 h 30370"/>
                    <a:gd name="connsiteX6" fmla="*/ 21530 w 46835"/>
                    <a:gd name="connsiteY6" fmla="*/ 10641 h 30370"/>
                    <a:gd name="connsiteX7" fmla="*/ 28541 w 46835"/>
                    <a:gd name="connsiteY7" fmla="*/ 10641 h 30370"/>
                    <a:gd name="connsiteX8" fmla="*/ 32357 w 46835"/>
                    <a:gd name="connsiteY8" fmla="*/ 0 h 30370"/>
                    <a:gd name="connsiteX9" fmla="*/ 46835 w 46835"/>
                    <a:gd name="connsiteY9" fmla="*/ 0 h 30370"/>
                    <a:gd name="connsiteX10" fmla="*/ 35966 w 46835"/>
                    <a:gd name="connsiteY10" fmla="*/ 30371 h 30370"/>
                    <a:gd name="connsiteX11" fmla="*/ 21530 w 46835"/>
                    <a:gd name="connsiteY11" fmla="*/ 30371 h 30370"/>
                    <a:gd name="connsiteX12" fmla="*/ 25305 w 46835"/>
                    <a:gd name="connsiteY12" fmla="*/ 19730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6835" h="30370">
                      <a:moveTo>
                        <a:pt x="25305" y="19730"/>
                      </a:moveTo>
                      <a:lnTo>
                        <a:pt x="18294" y="19730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5347" y="0"/>
                      </a:lnTo>
                      <a:lnTo>
                        <a:pt x="21530" y="10641"/>
                      </a:lnTo>
                      <a:lnTo>
                        <a:pt x="28541" y="10641"/>
                      </a:lnTo>
                      <a:lnTo>
                        <a:pt x="32357" y="0"/>
                      </a:lnTo>
                      <a:lnTo>
                        <a:pt x="46835" y="0"/>
                      </a:lnTo>
                      <a:lnTo>
                        <a:pt x="35966" y="30371"/>
                      </a:lnTo>
                      <a:lnTo>
                        <a:pt x="21530" y="30371"/>
                      </a:lnTo>
                      <a:lnTo>
                        <a:pt x="25305" y="1973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9" name="Freeform: Shape 378">
                  <a:extLst>
                    <a:ext uri="{FF2B5EF4-FFF2-40B4-BE49-F238E27FC236}">
                      <a16:creationId xmlns:a16="http://schemas.microsoft.com/office/drawing/2014/main" id="{96E61EDC-C54A-473A-A176-05DA1FF60412}"/>
                    </a:ext>
                  </a:extLst>
                </p:cNvPr>
                <p:cNvSpPr/>
                <p:nvPr/>
              </p:nvSpPr>
              <p:spPr>
                <a:xfrm>
                  <a:off x="831123" y="2757182"/>
                  <a:ext cx="41317" cy="30413"/>
                </a:xfrm>
                <a:custGeom>
                  <a:avLst/>
                  <a:gdLst>
                    <a:gd name="connsiteX0" fmla="*/ 10869 w 41317"/>
                    <a:gd name="connsiteY0" fmla="*/ 0 h 30413"/>
                    <a:gd name="connsiteX1" fmla="*/ 41318 w 41317"/>
                    <a:gd name="connsiteY1" fmla="*/ 0 h 30413"/>
                    <a:gd name="connsiteX2" fmla="*/ 38372 w 41317"/>
                    <a:gd name="connsiteY2" fmla="*/ 8271 h 30413"/>
                    <a:gd name="connsiteX3" fmla="*/ 22360 w 41317"/>
                    <a:gd name="connsiteY3" fmla="*/ 8271 h 30413"/>
                    <a:gd name="connsiteX4" fmla="*/ 21364 w 41317"/>
                    <a:gd name="connsiteY4" fmla="*/ 11028 h 30413"/>
                    <a:gd name="connsiteX5" fmla="*/ 35800 w 41317"/>
                    <a:gd name="connsiteY5" fmla="*/ 11028 h 30413"/>
                    <a:gd name="connsiteX6" fmla="*/ 32772 w 41317"/>
                    <a:gd name="connsiteY6" fmla="*/ 19300 h 30413"/>
                    <a:gd name="connsiteX7" fmla="*/ 18419 w 41317"/>
                    <a:gd name="connsiteY7" fmla="*/ 19300 h 30413"/>
                    <a:gd name="connsiteX8" fmla="*/ 17382 w 41317"/>
                    <a:gd name="connsiteY8" fmla="*/ 22143 h 30413"/>
                    <a:gd name="connsiteX9" fmla="*/ 33394 w 41317"/>
                    <a:gd name="connsiteY9" fmla="*/ 22143 h 30413"/>
                    <a:gd name="connsiteX10" fmla="*/ 30449 w 41317"/>
                    <a:gd name="connsiteY10" fmla="*/ 30414 h 30413"/>
                    <a:gd name="connsiteX11" fmla="*/ 0 w 41317"/>
                    <a:gd name="connsiteY11" fmla="*/ 30414 h 30413"/>
                    <a:gd name="connsiteX12" fmla="*/ 10869 w 41317"/>
                    <a:gd name="connsiteY12" fmla="*/ 0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317" h="30413">
                      <a:moveTo>
                        <a:pt x="10869" y="0"/>
                      </a:moveTo>
                      <a:lnTo>
                        <a:pt x="41318" y="0"/>
                      </a:lnTo>
                      <a:lnTo>
                        <a:pt x="38372" y="8271"/>
                      </a:lnTo>
                      <a:lnTo>
                        <a:pt x="22360" y="8271"/>
                      </a:lnTo>
                      <a:lnTo>
                        <a:pt x="21364" y="11028"/>
                      </a:lnTo>
                      <a:lnTo>
                        <a:pt x="35800" y="11028"/>
                      </a:lnTo>
                      <a:lnTo>
                        <a:pt x="32772" y="19300"/>
                      </a:lnTo>
                      <a:lnTo>
                        <a:pt x="18419" y="19300"/>
                      </a:lnTo>
                      <a:lnTo>
                        <a:pt x="17382" y="22143"/>
                      </a:lnTo>
                      <a:lnTo>
                        <a:pt x="33394" y="22143"/>
                      </a:lnTo>
                      <a:lnTo>
                        <a:pt x="30449" y="30414"/>
                      </a:lnTo>
                      <a:lnTo>
                        <a:pt x="0" y="30414"/>
                      </a:lnTo>
                      <a:lnTo>
                        <a:pt x="10869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0" name="Freeform: Shape 379">
                  <a:extLst>
                    <a:ext uri="{FF2B5EF4-FFF2-40B4-BE49-F238E27FC236}">
                      <a16:creationId xmlns:a16="http://schemas.microsoft.com/office/drawing/2014/main" id="{20E899A1-EF9C-48F0-9172-5CDB2A4C2C4B}"/>
                    </a:ext>
                  </a:extLst>
                </p:cNvPr>
                <p:cNvSpPr/>
                <p:nvPr/>
              </p:nvSpPr>
              <p:spPr>
                <a:xfrm>
                  <a:off x="866342" y="2756320"/>
                  <a:ext cx="38206" cy="32050"/>
                </a:xfrm>
                <a:custGeom>
                  <a:avLst/>
                  <a:gdLst>
                    <a:gd name="connsiteX0" fmla="*/ 0 w 38206"/>
                    <a:gd name="connsiteY0" fmla="*/ 29768 h 32050"/>
                    <a:gd name="connsiteX1" fmla="*/ 2945 w 38206"/>
                    <a:gd name="connsiteY1" fmla="*/ 21626 h 32050"/>
                    <a:gd name="connsiteX2" fmla="*/ 13690 w 38206"/>
                    <a:gd name="connsiteY2" fmla="*/ 23607 h 32050"/>
                    <a:gd name="connsiteX3" fmla="*/ 19248 w 38206"/>
                    <a:gd name="connsiteY3" fmla="*/ 22229 h 32050"/>
                    <a:gd name="connsiteX4" fmla="*/ 18336 w 38206"/>
                    <a:gd name="connsiteY4" fmla="*/ 20506 h 32050"/>
                    <a:gd name="connsiteX5" fmla="*/ 14187 w 38206"/>
                    <a:gd name="connsiteY5" fmla="*/ 19860 h 32050"/>
                    <a:gd name="connsiteX6" fmla="*/ 6388 w 38206"/>
                    <a:gd name="connsiteY6" fmla="*/ 8831 h 32050"/>
                    <a:gd name="connsiteX7" fmla="*/ 24226 w 38206"/>
                    <a:gd name="connsiteY7" fmla="*/ 0 h 32050"/>
                    <a:gd name="connsiteX8" fmla="*/ 38206 w 38206"/>
                    <a:gd name="connsiteY8" fmla="*/ 2154 h 32050"/>
                    <a:gd name="connsiteX9" fmla="*/ 35303 w 38206"/>
                    <a:gd name="connsiteY9" fmla="*/ 10296 h 32050"/>
                    <a:gd name="connsiteX10" fmla="*/ 24932 w 38206"/>
                    <a:gd name="connsiteY10" fmla="*/ 8444 h 32050"/>
                    <a:gd name="connsiteX11" fmla="*/ 20286 w 38206"/>
                    <a:gd name="connsiteY11" fmla="*/ 9650 h 32050"/>
                    <a:gd name="connsiteX12" fmla="*/ 21115 w 38206"/>
                    <a:gd name="connsiteY12" fmla="*/ 11115 h 32050"/>
                    <a:gd name="connsiteX13" fmla="*/ 25264 w 38206"/>
                    <a:gd name="connsiteY13" fmla="*/ 11761 h 32050"/>
                    <a:gd name="connsiteX14" fmla="*/ 33021 w 38206"/>
                    <a:gd name="connsiteY14" fmla="*/ 23349 h 32050"/>
                    <a:gd name="connsiteX15" fmla="*/ 15349 w 38206"/>
                    <a:gd name="connsiteY15" fmla="*/ 32051 h 32050"/>
                    <a:gd name="connsiteX16" fmla="*/ 0 w 38206"/>
                    <a:gd name="connsiteY16" fmla="*/ 29768 h 32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8206" h="32050">
                      <a:moveTo>
                        <a:pt x="0" y="29768"/>
                      </a:moveTo>
                      <a:lnTo>
                        <a:pt x="2945" y="21626"/>
                      </a:lnTo>
                      <a:cubicBezTo>
                        <a:pt x="5476" y="22703"/>
                        <a:pt x="10122" y="23607"/>
                        <a:pt x="13690" y="23607"/>
                      </a:cubicBezTo>
                      <a:cubicBezTo>
                        <a:pt x="17589" y="23607"/>
                        <a:pt x="18709" y="23392"/>
                        <a:pt x="19248" y="22229"/>
                      </a:cubicBezTo>
                      <a:cubicBezTo>
                        <a:pt x="19705" y="21195"/>
                        <a:pt x="19124" y="20635"/>
                        <a:pt x="18336" y="20506"/>
                      </a:cubicBezTo>
                      <a:lnTo>
                        <a:pt x="14187" y="19860"/>
                      </a:lnTo>
                      <a:cubicBezTo>
                        <a:pt x="5974" y="18610"/>
                        <a:pt x="4397" y="14475"/>
                        <a:pt x="6388" y="8831"/>
                      </a:cubicBezTo>
                      <a:cubicBezTo>
                        <a:pt x="8712" y="2283"/>
                        <a:pt x="15100" y="0"/>
                        <a:pt x="24226" y="0"/>
                      </a:cubicBezTo>
                      <a:cubicBezTo>
                        <a:pt x="30200" y="0"/>
                        <a:pt x="34307" y="732"/>
                        <a:pt x="38206" y="2154"/>
                      </a:cubicBezTo>
                      <a:lnTo>
                        <a:pt x="35303" y="10296"/>
                      </a:lnTo>
                      <a:cubicBezTo>
                        <a:pt x="33021" y="9391"/>
                        <a:pt x="28873" y="8444"/>
                        <a:pt x="24932" y="8444"/>
                      </a:cubicBezTo>
                      <a:cubicBezTo>
                        <a:pt x="21820" y="8444"/>
                        <a:pt x="20659" y="8616"/>
                        <a:pt x="20286" y="9650"/>
                      </a:cubicBezTo>
                      <a:cubicBezTo>
                        <a:pt x="19912" y="10641"/>
                        <a:pt x="20327" y="10985"/>
                        <a:pt x="21115" y="11115"/>
                      </a:cubicBezTo>
                      <a:lnTo>
                        <a:pt x="25264" y="11761"/>
                      </a:lnTo>
                      <a:cubicBezTo>
                        <a:pt x="33602" y="13010"/>
                        <a:pt x="35261" y="17447"/>
                        <a:pt x="33021" y="23349"/>
                      </a:cubicBezTo>
                      <a:cubicBezTo>
                        <a:pt x="30491" y="30112"/>
                        <a:pt x="24351" y="32051"/>
                        <a:pt x="15349" y="32051"/>
                      </a:cubicBezTo>
                      <a:cubicBezTo>
                        <a:pt x="8712" y="32051"/>
                        <a:pt x="4190" y="31362"/>
                        <a:pt x="0" y="29768"/>
                      </a:cubicBez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1" name="Freeform: Shape 380">
                  <a:extLst>
                    <a:ext uri="{FF2B5EF4-FFF2-40B4-BE49-F238E27FC236}">
                      <a16:creationId xmlns:a16="http://schemas.microsoft.com/office/drawing/2014/main" id="{E7024B15-B142-4F21-84F4-28226CD8C224}"/>
                    </a:ext>
                  </a:extLst>
                </p:cNvPr>
                <p:cNvSpPr/>
                <p:nvPr/>
              </p:nvSpPr>
              <p:spPr>
                <a:xfrm>
                  <a:off x="900442" y="2757182"/>
                  <a:ext cx="25346" cy="30370"/>
                </a:xfrm>
                <a:custGeom>
                  <a:avLst/>
                  <a:gdLst>
                    <a:gd name="connsiteX0" fmla="*/ 0 w 25346"/>
                    <a:gd name="connsiteY0" fmla="*/ 30371 h 30370"/>
                    <a:gd name="connsiteX1" fmla="*/ 10869 w 25346"/>
                    <a:gd name="connsiteY1" fmla="*/ 0 h 30370"/>
                    <a:gd name="connsiteX2" fmla="*/ 25347 w 25346"/>
                    <a:gd name="connsiteY2" fmla="*/ 0 h 30370"/>
                    <a:gd name="connsiteX3" fmla="*/ 14478 w 25346"/>
                    <a:gd name="connsiteY3" fmla="*/ 30371 h 30370"/>
                    <a:gd name="connsiteX4" fmla="*/ 0 w 25346"/>
                    <a:gd name="connsiteY4" fmla="*/ 303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346" h="30370">
                      <a:moveTo>
                        <a:pt x="0" y="30371"/>
                      </a:moveTo>
                      <a:lnTo>
                        <a:pt x="10869" y="0"/>
                      </a:lnTo>
                      <a:lnTo>
                        <a:pt x="25347" y="0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2" name="Freeform: Shape 381">
                  <a:extLst>
                    <a:ext uri="{FF2B5EF4-FFF2-40B4-BE49-F238E27FC236}">
                      <a16:creationId xmlns:a16="http://schemas.microsoft.com/office/drawing/2014/main" id="{BA0AC687-6C5E-4D76-8B54-FAE9716351FA}"/>
                    </a:ext>
                  </a:extLst>
                </p:cNvPr>
                <p:cNvSpPr/>
                <p:nvPr/>
              </p:nvSpPr>
              <p:spPr>
                <a:xfrm>
                  <a:off x="920479" y="2756320"/>
                  <a:ext cx="38165" cy="32050"/>
                </a:xfrm>
                <a:custGeom>
                  <a:avLst/>
                  <a:gdLst>
                    <a:gd name="connsiteX0" fmla="*/ 0 w 38165"/>
                    <a:gd name="connsiteY0" fmla="*/ 29768 h 32050"/>
                    <a:gd name="connsiteX1" fmla="*/ 2945 w 38165"/>
                    <a:gd name="connsiteY1" fmla="*/ 21626 h 32050"/>
                    <a:gd name="connsiteX2" fmla="*/ 13690 w 38165"/>
                    <a:gd name="connsiteY2" fmla="*/ 23607 h 32050"/>
                    <a:gd name="connsiteX3" fmla="*/ 19248 w 38165"/>
                    <a:gd name="connsiteY3" fmla="*/ 22229 h 32050"/>
                    <a:gd name="connsiteX4" fmla="*/ 18336 w 38165"/>
                    <a:gd name="connsiteY4" fmla="*/ 20506 h 32050"/>
                    <a:gd name="connsiteX5" fmla="*/ 14187 w 38165"/>
                    <a:gd name="connsiteY5" fmla="*/ 19860 h 32050"/>
                    <a:gd name="connsiteX6" fmla="*/ 6388 w 38165"/>
                    <a:gd name="connsiteY6" fmla="*/ 8831 h 32050"/>
                    <a:gd name="connsiteX7" fmla="*/ 24226 w 38165"/>
                    <a:gd name="connsiteY7" fmla="*/ 0 h 32050"/>
                    <a:gd name="connsiteX8" fmla="*/ 38165 w 38165"/>
                    <a:gd name="connsiteY8" fmla="*/ 2154 h 32050"/>
                    <a:gd name="connsiteX9" fmla="*/ 35261 w 38165"/>
                    <a:gd name="connsiteY9" fmla="*/ 10296 h 32050"/>
                    <a:gd name="connsiteX10" fmla="*/ 24890 w 38165"/>
                    <a:gd name="connsiteY10" fmla="*/ 8444 h 32050"/>
                    <a:gd name="connsiteX11" fmla="*/ 20244 w 38165"/>
                    <a:gd name="connsiteY11" fmla="*/ 9650 h 32050"/>
                    <a:gd name="connsiteX12" fmla="*/ 21074 w 38165"/>
                    <a:gd name="connsiteY12" fmla="*/ 11115 h 32050"/>
                    <a:gd name="connsiteX13" fmla="*/ 25222 w 38165"/>
                    <a:gd name="connsiteY13" fmla="*/ 11761 h 32050"/>
                    <a:gd name="connsiteX14" fmla="*/ 32980 w 38165"/>
                    <a:gd name="connsiteY14" fmla="*/ 23349 h 32050"/>
                    <a:gd name="connsiteX15" fmla="*/ 15308 w 38165"/>
                    <a:gd name="connsiteY15" fmla="*/ 32051 h 32050"/>
                    <a:gd name="connsiteX16" fmla="*/ 0 w 38165"/>
                    <a:gd name="connsiteY16" fmla="*/ 29768 h 32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8165" h="32050">
                      <a:moveTo>
                        <a:pt x="0" y="29768"/>
                      </a:moveTo>
                      <a:lnTo>
                        <a:pt x="2945" y="21626"/>
                      </a:lnTo>
                      <a:cubicBezTo>
                        <a:pt x="5476" y="22703"/>
                        <a:pt x="10122" y="23607"/>
                        <a:pt x="13690" y="23607"/>
                      </a:cubicBezTo>
                      <a:cubicBezTo>
                        <a:pt x="17589" y="23607"/>
                        <a:pt x="18709" y="23392"/>
                        <a:pt x="19248" y="22229"/>
                      </a:cubicBezTo>
                      <a:cubicBezTo>
                        <a:pt x="19705" y="21195"/>
                        <a:pt x="19124" y="20635"/>
                        <a:pt x="18336" y="20506"/>
                      </a:cubicBezTo>
                      <a:lnTo>
                        <a:pt x="14187" y="19860"/>
                      </a:lnTo>
                      <a:cubicBezTo>
                        <a:pt x="5974" y="18610"/>
                        <a:pt x="4397" y="14475"/>
                        <a:pt x="6388" y="8831"/>
                      </a:cubicBezTo>
                      <a:cubicBezTo>
                        <a:pt x="8712" y="2283"/>
                        <a:pt x="15100" y="0"/>
                        <a:pt x="24226" y="0"/>
                      </a:cubicBezTo>
                      <a:cubicBezTo>
                        <a:pt x="30200" y="0"/>
                        <a:pt x="34307" y="732"/>
                        <a:pt x="38165" y="2154"/>
                      </a:cubicBezTo>
                      <a:lnTo>
                        <a:pt x="35261" y="10296"/>
                      </a:lnTo>
                      <a:cubicBezTo>
                        <a:pt x="32980" y="9391"/>
                        <a:pt x="28831" y="8444"/>
                        <a:pt x="24890" y="8444"/>
                      </a:cubicBezTo>
                      <a:cubicBezTo>
                        <a:pt x="21779" y="8444"/>
                        <a:pt x="20617" y="8616"/>
                        <a:pt x="20244" y="9650"/>
                      </a:cubicBezTo>
                      <a:cubicBezTo>
                        <a:pt x="19871" y="10641"/>
                        <a:pt x="20286" y="10985"/>
                        <a:pt x="21074" y="11115"/>
                      </a:cubicBezTo>
                      <a:lnTo>
                        <a:pt x="25222" y="11761"/>
                      </a:lnTo>
                      <a:cubicBezTo>
                        <a:pt x="33560" y="13010"/>
                        <a:pt x="35220" y="17447"/>
                        <a:pt x="32980" y="23349"/>
                      </a:cubicBezTo>
                      <a:cubicBezTo>
                        <a:pt x="30449" y="30112"/>
                        <a:pt x="24309" y="32051"/>
                        <a:pt x="15308" y="32051"/>
                      </a:cubicBezTo>
                      <a:cubicBezTo>
                        <a:pt x="8712" y="32051"/>
                        <a:pt x="4190" y="31362"/>
                        <a:pt x="0" y="29768"/>
                      </a:cubicBez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383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4975843" y="2546654"/>
            <a:ext cx="1406505" cy="258087"/>
            <a:chOff x="4975843" y="2546654"/>
            <a:chExt cx="1406505" cy="258087"/>
          </a:xfrm>
          <a:solidFill>
            <a:schemeClr val="accent1"/>
          </a:solidFill>
        </p:grpSpPr>
        <p:grpSp>
          <p:nvGrpSpPr>
            <p:cNvPr id="384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4991566" y="2546654"/>
              <a:ext cx="1390782" cy="199672"/>
              <a:chOff x="4991566" y="2546654"/>
              <a:chExt cx="1390782" cy="199672"/>
            </a:xfrm>
            <a:solidFill>
              <a:schemeClr val="accent1"/>
            </a:solidFill>
          </p:grpSpPr>
          <p:grpSp>
            <p:nvGrpSpPr>
              <p:cNvPr id="385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4991566" y="2546654"/>
                <a:ext cx="1390782" cy="199672"/>
                <a:chOff x="4991566" y="2546654"/>
                <a:chExt cx="1390782" cy="199672"/>
              </a:xfrm>
              <a:solidFill>
                <a:srgbClr val="27509B"/>
              </a:solidFill>
            </p:grpSpPr>
            <p:sp>
              <p:nvSpPr>
                <p:cNvPr id="386" name="Freeform: Shape 385">
                  <a:extLst>
                    <a:ext uri="{FF2B5EF4-FFF2-40B4-BE49-F238E27FC236}">
                      <a16:creationId xmlns:a16="http://schemas.microsoft.com/office/drawing/2014/main" id="{F2A5899F-9B16-4CAB-95B0-C2C32C6A574A}"/>
                    </a:ext>
                  </a:extLst>
                </p:cNvPr>
                <p:cNvSpPr/>
                <p:nvPr/>
              </p:nvSpPr>
              <p:spPr>
                <a:xfrm>
                  <a:off x="6043136" y="2546654"/>
                  <a:ext cx="339212" cy="199672"/>
                </a:xfrm>
                <a:custGeom>
                  <a:avLst/>
                  <a:gdLst>
                    <a:gd name="connsiteX0" fmla="*/ 310796 w 339212"/>
                    <a:gd name="connsiteY0" fmla="*/ 199672 h 199672"/>
                    <a:gd name="connsiteX1" fmla="*/ 0 w 339212"/>
                    <a:gd name="connsiteY1" fmla="*/ 199672 h 199672"/>
                    <a:gd name="connsiteX2" fmla="*/ 28416 w 339212"/>
                    <a:gd name="connsiteY2" fmla="*/ 99211 h 199672"/>
                    <a:gd name="connsiteX3" fmla="*/ 0 w 339212"/>
                    <a:gd name="connsiteY3" fmla="*/ 0 h 199672"/>
                    <a:gd name="connsiteX4" fmla="*/ 310796 w 339212"/>
                    <a:gd name="connsiteY4" fmla="*/ 0 h 199672"/>
                    <a:gd name="connsiteX5" fmla="*/ 339212 w 339212"/>
                    <a:gd name="connsiteY5" fmla="*/ 99211 h 199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9212" h="199672">
                      <a:moveTo>
                        <a:pt x="310796" y="199672"/>
                      </a:moveTo>
                      <a:lnTo>
                        <a:pt x="0" y="199672"/>
                      </a:lnTo>
                      <a:lnTo>
                        <a:pt x="28416" y="99211"/>
                      </a:lnTo>
                      <a:lnTo>
                        <a:pt x="0" y="0"/>
                      </a:lnTo>
                      <a:lnTo>
                        <a:pt x="310796" y="0"/>
                      </a:lnTo>
                      <a:lnTo>
                        <a:pt x="339212" y="9921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829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7" name="Freeform: Shape 386">
                  <a:extLst>
                    <a:ext uri="{FF2B5EF4-FFF2-40B4-BE49-F238E27FC236}">
                      <a16:creationId xmlns:a16="http://schemas.microsoft.com/office/drawing/2014/main" id="{0768986F-A4E6-47CE-AD49-D7DAFDA5D857}"/>
                    </a:ext>
                  </a:extLst>
                </p:cNvPr>
                <p:cNvSpPr/>
                <p:nvPr/>
              </p:nvSpPr>
              <p:spPr>
                <a:xfrm>
                  <a:off x="5341896" y="2546654"/>
                  <a:ext cx="339503" cy="199672"/>
                </a:xfrm>
                <a:custGeom>
                  <a:avLst/>
                  <a:gdLst>
                    <a:gd name="connsiteX0" fmla="*/ 311086 w 339503"/>
                    <a:gd name="connsiteY0" fmla="*/ 199672 h 199672"/>
                    <a:gd name="connsiteX1" fmla="*/ 0 w 339503"/>
                    <a:gd name="connsiteY1" fmla="*/ 199672 h 199672"/>
                    <a:gd name="connsiteX2" fmla="*/ 28416 w 339503"/>
                    <a:gd name="connsiteY2" fmla="*/ 99211 h 199672"/>
                    <a:gd name="connsiteX3" fmla="*/ 0 w 339503"/>
                    <a:gd name="connsiteY3" fmla="*/ 0 h 199672"/>
                    <a:gd name="connsiteX4" fmla="*/ 311086 w 339503"/>
                    <a:gd name="connsiteY4" fmla="*/ 0 h 199672"/>
                    <a:gd name="connsiteX5" fmla="*/ 339503 w 339503"/>
                    <a:gd name="connsiteY5" fmla="*/ 99211 h 199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9503" h="199672">
                      <a:moveTo>
                        <a:pt x="311086" y="199672"/>
                      </a:moveTo>
                      <a:lnTo>
                        <a:pt x="0" y="199672"/>
                      </a:lnTo>
                      <a:lnTo>
                        <a:pt x="28416" y="99211"/>
                      </a:lnTo>
                      <a:lnTo>
                        <a:pt x="0" y="0"/>
                      </a:lnTo>
                      <a:lnTo>
                        <a:pt x="311086" y="0"/>
                      </a:lnTo>
                      <a:lnTo>
                        <a:pt x="339503" y="9921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829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8" name="Freeform: Shape 387">
                  <a:extLst>
                    <a:ext uri="{FF2B5EF4-FFF2-40B4-BE49-F238E27FC236}">
                      <a16:creationId xmlns:a16="http://schemas.microsoft.com/office/drawing/2014/main" id="{B872EEFB-9206-4DE3-89F4-F69FAA1FF3BD}"/>
                    </a:ext>
                  </a:extLst>
                </p:cNvPr>
                <p:cNvSpPr/>
                <p:nvPr/>
              </p:nvSpPr>
              <p:spPr>
                <a:xfrm>
                  <a:off x="4991566" y="2546654"/>
                  <a:ext cx="339212" cy="199672"/>
                </a:xfrm>
                <a:custGeom>
                  <a:avLst/>
                  <a:gdLst>
                    <a:gd name="connsiteX0" fmla="*/ 310796 w 339212"/>
                    <a:gd name="connsiteY0" fmla="*/ 199672 h 199672"/>
                    <a:gd name="connsiteX1" fmla="*/ 0 w 339212"/>
                    <a:gd name="connsiteY1" fmla="*/ 199672 h 199672"/>
                    <a:gd name="connsiteX2" fmla="*/ 28416 w 339212"/>
                    <a:gd name="connsiteY2" fmla="*/ 99211 h 199672"/>
                    <a:gd name="connsiteX3" fmla="*/ 0 w 339212"/>
                    <a:gd name="connsiteY3" fmla="*/ 0 h 199672"/>
                    <a:gd name="connsiteX4" fmla="*/ 310796 w 339212"/>
                    <a:gd name="connsiteY4" fmla="*/ 0 h 199672"/>
                    <a:gd name="connsiteX5" fmla="*/ 339212 w 339212"/>
                    <a:gd name="connsiteY5" fmla="*/ 99211 h 199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9212" h="199672">
                      <a:moveTo>
                        <a:pt x="310796" y="199672"/>
                      </a:moveTo>
                      <a:lnTo>
                        <a:pt x="0" y="199672"/>
                      </a:lnTo>
                      <a:lnTo>
                        <a:pt x="28416" y="99211"/>
                      </a:lnTo>
                      <a:lnTo>
                        <a:pt x="0" y="0"/>
                      </a:lnTo>
                      <a:lnTo>
                        <a:pt x="310796" y="0"/>
                      </a:lnTo>
                      <a:lnTo>
                        <a:pt x="339212" y="9921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829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9" name="Freeform: Shape 388">
                  <a:extLst>
                    <a:ext uri="{FF2B5EF4-FFF2-40B4-BE49-F238E27FC236}">
                      <a16:creationId xmlns:a16="http://schemas.microsoft.com/office/drawing/2014/main" id="{C61E1DD8-7028-448C-94A4-A8DB7570C4D0}"/>
                    </a:ext>
                  </a:extLst>
                </p:cNvPr>
                <p:cNvSpPr/>
                <p:nvPr/>
              </p:nvSpPr>
              <p:spPr>
                <a:xfrm>
                  <a:off x="5692516" y="2546654"/>
                  <a:ext cx="339502" cy="199672"/>
                </a:xfrm>
                <a:custGeom>
                  <a:avLst/>
                  <a:gdLst>
                    <a:gd name="connsiteX0" fmla="*/ 311086 w 339502"/>
                    <a:gd name="connsiteY0" fmla="*/ 199672 h 199672"/>
                    <a:gd name="connsiteX1" fmla="*/ 0 w 339502"/>
                    <a:gd name="connsiteY1" fmla="*/ 199672 h 199672"/>
                    <a:gd name="connsiteX2" fmla="*/ 28416 w 339502"/>
                    <a:gd name="connsiteY2" fmla="*/ 99211 h 199672"/>
                    <a:gd name="connsiteX3" fmla="*/ 0 w 339502"/>
                    <a:gd name="connsiteY3" fmla="*/ 0 h 199672"/>
                    <a:gd name="connsiteX4" fmla="*/ 311086 w 339502"/>
                    <a:gd name="connsiteY4" fmla="*/ 0 h 199672"/>
                    <a:gd name="connsiteX5" fmla="*/ 339503 w 339502"/>
                    <a:gd name="connsiteY5" fmla="*/ 99211 h 199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9502" h="199672">
                      <a:moveTo>
                        <a:pt x="311086" y="199672"/>
                      </a:moveTo>
                      <a:lnTo>
                        <a:pt x="0" y="199672"/>
                      </a:lnTo>
                      <a:lnTo>
                        <a:pt x="28416" y="99211"/>
                      </a:lnTo>
                      <a:lnTo>
                        <a:pt x="0" y="0"/>
                      </a:lnTo>
                      <a:lnTo>
                        <a:pt x="311086" y="0"/>
                      </a:lnTo>
                      <a:lnTo>
                        <a:pt x="339503" y="9921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829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90" name="Freeform: Shape 389">
                <a:extLst>
                  <a:ext uri="{FF2B5EF4-FFF2-40B4-BE49-F238E27FC236}">
                    <a16:creationId xmlns:a16="http://schemas.microsoft.com/office/drawing/2014/main" id="{922849F4-3FA7-42F4-98AA-059296C0D713}"/>
                  </a:ext>
                </a:extLst>
              </p:cNvPr>
              <p:cNvSpPr/>
              <p:nvPr/>
            </p:nvSpPr>
            <p:spPr>
              <a:xfrm>
                <a:off x="5092910" y="2604079"/>
                <a:ext cx="136481" cy="88527"/>
              </a:xfrm>
              <a:custGeom>
                <a:avLst/>
                <a:gdLst>
                  <a:gd name="connsiteX0" fmla="*/ 73758 w 136481"/>
                  <a:gd name="connsiteY0" fmla="*/ 57554 h 88527"/>
                  <a:gd name="connsiteX1" fmla="*/ 53307 w 136481"/>
                  <a:gd name="connsiteY1" fmla="*/ 57554 h 88527"/>
                  <a:gd name="connsiteX2" fmla="*/ 42148 w 136481"/>
                  <a:gd name="connsiteY2" fmla="*/ 88528 h 88527"/>
                  <a:gd name="connsiteX3" fmla="*/ 0 w 136481"/>
                  <a:gd name="connsiteY3" fmla="*/ 88528 h 88527"/>
                  <a:gd name="connsiteX4" fmla="*/ 31735 w 136481"/>
                  <a:gd name="connsiteY4" fmla="*/ 0 h 88527"/>
                  <a:gd name="connsiteX5" fmla="*/ 73883 w 136481"/>
                  <a:gd name="connsiteY5" fmla="*/ 0 h 88527"/>
                  <a:gd name="connsiteX6" fmla="*/ 62723 w 136481"/>
                  <a:gd name="connsiteY6" fmla="*/ 30974 h 88527"/>
                  <a:gd name="connsiteX7" fmla="*/ 83175 w 136481"/>
                  <a:gd name="connsiteY7" fmla="*/ 30974 h 88527"/>
                  <a:gd name="connsiteX8" fmla="*/ 94334 w 136481"/>
                  <a:gd name="connsiteY8" fmla="*/ 0 h 88527"/>
                  <a:gd name="connsiteX9" fmla="*/ 136482 w 136481"/>
                  <a:gd name="connsiteY9" fmla="*/ 0 h 88527"/>
                  <a:gd name="connsiteX10" fmla="*/ 104746 w 136481"/>
                  <a:gd name="connsiteY10" fmla="*/ 88528 h 88527"/>
                  <a:gd name="connsiteX11" fmla="*/ 62599 w 136481"/>
                  <a:gd name="connsiteY11" fmla="*/ 88528 h 88527"/>
                  <a:gd name="connsiteX12" fmla="*/ 73758 w 136481"/>
                  <a:gd name="connsiteY12" fmla="*/ 57554 h 88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6481" h="88527">
                    <a:moveTo>
                      <a:pt x="73758" y="57554"/>
                    </a:moveTo>
                    <a:lnTo>
                      <a:pt x="53307" y="57554"/>
                    </a:lnTo>
                    <a:lnTo>
                      <a:pt x="42148" y="88528"/>
                    </a:lnTo>
                    <a:lnTo>
                      <a:pt x="0" y="88528"/>
                    </a:lnTo>
                    <a:lnTo>
                      <a:pt x="31735" y="0"/>
                    </a:lnTo>
                    <a:lnTo>
                      <a:pt x="73883" y="0"/>
                    </a:lnTo>
                    <a:lnTo>
                      <a:pt x="62723" y="30974"/>
                    </a:lnTo>
                    <a:lnTo>
                      <a:pt x="83175" y="30974"/>
                    </a:lnTo>
                    <a:lnTo>
                      <a:pt x="94334" y="0"/>
                    </a:lnTo>
                    <a:lnTo>
                      <a:pt x="136482" y="0"/>
                    </a:lnTo>
                    <a:lnTo>
                      <a:pt x="104746" y="88528"/>
                    </a:lnTo>
                    <a:lnTo>
                      <a:pt x="62599" y="88528"/>
                    </a:lnTo>
                    <a:lnTo>
                      <a:pt x="73758" y="57554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1" name="Freeform: Shape 390">
                <a:extLst>
                  <a:ext uri="{FF2B5EF4-FFF2-40B4-BE49-F238E27FC236}">
                    <a16:creationId xmlns:a16="http://schemas.microsoft.com/office/drawing/2014/main" id="{C7E3DA84-D489-44A5-8E43-2B77EEC48686}"/>
                  </a:ext>
                </a:extLst>
              </p:cNvPr>
              <p:cNvSpPr/>
              <p:nvPr/>
            </p:nvSpPr>
            <p:spPr>
              <a:xfrm>
                <a:off x="5466720" y="2604122"/>
                <a:ext cx="125736" cy="88527"/>
              </a:xfrm>
              <a:custGeom>
                <a:avLst/>
                <a:gdLst>
                  <a:gd name="connsiteX0" fmla="*/ 31776 w 125736"/>
                  <a:gd name="connsiteY0" fmla="*/ 0 h 88527"/>
                  <a:gd name="connsiteX1" fmla="*/ 99229 w 125736"/>
                  <a:gd name="connsiteY1" fmla="*/ 0 h 88527"/>
                  <a:gd name="connsiteX2" fmla="*/ 124410 w 125736"/>
                  <a:gd name="connsiteY2" fmla="*/ 26537 h 88527"/>
                  <a:gd name="connsiteX3" fmla="*/ 98482 w 125736"/>
                  <a:gd name="connsiteY3" fmla="*/ 44759 h 88527"/>
                  <a:gd name="connsiteX4" fmla="*/ 112794 w 125736"/>
                  <a:gd name="connsiteY4" fmla="*/ 70219 h 88527"/>
                  <a:gd name="connsiteX5" fmla="*/ 74380 w 125736"/>
                  <a:gd name="connsiteY5" fmla="*/ 88528 h 88527"/>
                  <a:gd name="connsiteX6" fmla="*/ 0 w 125736"/>
                  <a:gd name="connsiteY6" fmla="*/ 88528 h 88527"/>
                  <a:gd name="connsiteX7" fmla="*/ 31776 w 125736"/>
                  <a:gd name="connsiteY7" fmla="*/ 0 h 88527"/>
                  <a:gd name="connsiteX8" fmla="*/ 54758 w 125736"/>
                  <a:gd name="connsiteY8" fmla="*/ 53461 h 88527"/>
                  <a:gd name="connsiteX9" fmla="*/ 50776 w 125736"/>
                  <a:gd name="connsiteY9" fmla="*/ 64403 h 88527"/>
                  <a:gd name="connsiteX10" fmla="*/ 66166 w 125736"/>
                  <a:gd name="connsiteY10" fmla="*/ 64403 h 88527"/>
                  <a:gd name="connsiteX11" fmla="*/ 74297 w 125736"/>
                  <a:gd name="connsiteY11" fmla="*/ 60096 h 88527"/>
                  <a:gd name="connsiteX12" fmla="*/ 69444 w 125736"/>
                  <a:gd name="connsiteY12" fmla="*/ 53461 h 88527"/>
                  <a:gd name="connsiteX13" fmla="*/ 54758 w 125736"/>
                  <a:gd name="connsiteY13" fmla="*/ 53461 h 88527"/>
                  <a:gd name="connsiteX14" fmla="*/ 65295 w 125736"/>
                  <a:gd name="connsiteY14" fmla="*/ 24081 h 88527"/>
                  <a:gd name="connsiteX15" fmla="*/ 61520 w 125736"/>
                  <a:gd name="connsiteY15" fmla="*/ 34291 h 88527"/>
                  <a:gd name="connsiteX16" fmla="*/ 73260 w 125736"/>
                  <a:gd name="connsiteY16" fmla="*/ 34291 h 88527"/>
                  <a:gd name="connsiteX17" fmla="*/ 80893 w 125736"/>
                  <a:gd name="connsiteY17" fmla="*/ 29595 h 88527"/>
                  <a:gd name="connsiteX18" fmla="*/ 76910 w 125736"/>
                  <a:gd name="connsiteY18" fmla="*/ 24081 h 88527"/>
                  <a:gd name="connsiteX19" fmla="*/ 65295 w 125736"/>
                  <a:gd name="connsiteY19" fmla="*/ 24081 h 88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5736" h="88527">
                    <a:moveTo>
                      <a:pt x="31776" y="0"/>
                    </a:moveTo>
                    <a:lnTo>
                      <a:pt x="99229" y="0"/>
                    </a:lnTo>
                    <a:cubicBezTo>
                      <a:pt x="121879" y="0"/>
                      <a:pt x="129014" y="12924"/>
                      <a:pt x="124410" y="26537"/>
                    </a:cubicBezTo>
                    <a:cubicBezTo>
                      <a:pt x="120551" y="37608"/>
                      <a:pt x="111093" y="43639"/>
                      <a:pt x="98482" y="44759"/>
                    </a:cubicBezTo>
                    <a:cubicBezTo>
                      <a:pt x="111342" y="46612"/>
                      <a:pt x="117606" y="57037"/>
                      <a:pt x="112794" y="70219"/>
                    </a:cubicBezTo>
                    <a:cubicBezTo>
                      <a:pt x="108438" y="82497"/>
                      <a:pt x="98606" y="88528"/>
                      <a:pt x="74380" y="88528"/>
                    </a:cubicBezTo>
                    <a:lnTo>
                      <a:pt x="0" y="88528"/>
                    </a:lnTo>
                    <a:lnTo>
                      <a:pt x="31776" y="0"/>
                    </a:lnTo>
                    <a:close/>
                    <a:moveTo>
                      <a:pt x="54758" y="53461"/>
                    </a:moveTo>
                    <a:lnTo>
                      <a:pt x="50776" y="64403"/>
                    </a:lnTo>
                    <a:lnTo>
                      <a:pt x="66166" y="64403"/>
                    </a:lnTo>
                    <a:cubicBezTo>
                      <a:pt x="70398" y="64403"/>
                      <a:pt x="73053" y="63542"/>
                      <a:pt x="74297" y="60096"/>
                    </a:cubicBezTo>
                    <a:cubicBezTo>
                      <a:pt x="75625" y="56046"/>
                      <a:pt x="74671" y="53461"/>
                      <a:pt x="69444" y="53461"/>
                    </a:cubicBezTo>
                    <a:lnTo>
                      <a:pt x="54758" y="53461"/>
                    </a:lnTo>
                    <a:close/>
                    <a:moveTo>
                      <a:pt x="65295" y="24081"/>
                    </a:moveTo>
                    <a:lnTo>
                      <a:pt x="61520" y="34291"/>
                    </a:lnTo>
                    <a:lnTo>
                      <a:pt x="73260" y="34291"/>
                    </a:lnTo>
                    <a:cubicBezTo>
                      <a:pt x="78238" y="34291"/>
                      <a:pt x="79815" y="32568"/>
                      <a:pt x="80893" y="29595"/>
                    </a:cubicBezTo>
                    <a:cubicBezTo>
                      <a:pt x="81971" y="26795"/>
                      <a:pt x="81640" y="24081"/>
                      <a:pt x="76910" y="24081"/>
                    </a:cubicBezTo>
                    <a:lnTo>
                      <a:pt x="65295" y="24081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2" name="Freeform: Shape 391">
                <a:extLst>
                  <a:ext uri="{FF2B5EF4-FFF2-40B4-BE49-F238E27FC236}">
                    <a16:creationId xmlns:a16="http://schemas.microsoft.com/office/drawing/2014/main" id="{EFCD9506-B763-4554-BDF9-741B586A1906}"/>
                  </a:ext>
                </a:extLst>
              </p:cNvPr>
              <p:cNvSpPr/>
              <p:nvPr/>
            </p:nvSpPr>
            <p:spPr>
              <a:xfrm>
                <a:off x="5771667" y="2604122"/>
                <a:ext cx="181159" cy="88527"/>
              </a:xfrm>
              <a:custGeom>
                <a:avLst/>
                <a:gdLst>
                  <a:gd name="connsiteX0" fmla="*/ 57538 w 181159"/>
                  <a:gd name="connsiteY0" fmla="*/ 28518 h 88527"/>
                  <a:gd name="connsiteX1" fmla="*/ 36091 w 181159"/>
                  <a:gd name="connsiteY1" fmla="*/ 88528 h 88527"/>
                  <a:gd name="connsiteX2" fmla="*/ 0 w 181159"/>
                  <a:gd name="connsiteY2" fmla="*/ 88528 h 88527"/>
                  <a:gd name="connsiteX3" fmla="*/ 31735 w 181159"/>
                  <a:gd name="connsiteY3" fmla="*/ 0 h 88527"/>
                  <a:gd name="connsiteX4" fmla="*/ 78114 w 181159"/>
                  <a:gd name="connsiteY4" fmla="*/ 0 h 88527"/>
                  <a:gd name="connsiteX5" fmla="*/ 91430 w 181159"/>
                  <a:gd name="connsiteY5" fmla="*/ 16844 h 88527"/>
                  <a:gd name="connsiteX6" fmla="*/ 90227 w 181159"/>
                  <a:gd name="connsiteY6" fmla="*/ 43295 h 88527"/>
                  <a:gd name="connsiteX7" fmla="*/ 116611 w 181159"/>
                  <a:gd name="connsiteY7" fmla="*/ 0 h 88527"/>
                  <a:gd name="connsiteX8" fmla="*/ 181160 w 181159"/>
                  <a:gd name="connsiteY8" fmla="*/ 0 h 88527"/>
                  <a:gd name="connsiteX9" fmla="*/ 149549 w 181159"/>
                  <a:gd name="connsiteY9" fmla="*/ 88528 h 88527"/>
                  <a:gd name="connsiteX10" fmla="*/ 107028 w 181159"/>
                  <a:gd name="connsiteY10" fmla="*/ 88528 h 88527"/>
                  <a:gd name="connsiteX11" fmla="*/ 127978 w 181159"/>
                  <a:gd name="connsiteY11" fmla="*/ 30242 h 88527"/>
                  <a:gd name="connsiteX12" fmla="*/ 89688 w 181159"/>
                  <a:gd name="connsiteY12" fmla="*/ 88528 h 88527"/>
                  <a:gd name="connsiteX13" fmla="*/ 54551 w 181159"/>
                  <a:gd name="connsiteY13" fmla="*/ 88528 h 88527"/>
                  <a:gd name="connsiteX14" fmla="*/ 57538 w 181159"/>
                  <a:gd name="connsiteY14" fmla="*/ 28518 h 88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1159" h="88527">
                    <a:moveTo>
                      <a:pt x="57538" y="28518"/>
                    </a:moveTo>
                    <a:lnTo>
                      <a:pt x="36091" y="88528"/>
                    </a:lnTo>
                    <a:lnTo>
                      <a:pt x="0" y="88528"/>
                    </a:lnTo>
                    <a:lnTo>
                      <a:pt x="31735" y="0"/>
                    </a:lnTo>
                    <a:lnTo>
                      <a:pt x="78114" y="0"/>
                    </a:lnTo>
                    <a:cubicBezTo>
                      <a:pt x="88900" y="0"/>
                      <a:pt x="91803" y="6031"/>
                      <a:pt x="91430" y="16844"/>
                    </a:cubicBezTo>
                    <a:lnTo>
                      <a:pt x="90227" y="43295"/>
                    </a:lnTo>
                    <a:lnTo>
                      <a:pt x="116611" y="0"/>
                    </a:lnTo>
                    <a:lnTo>
                      <a:pt x="181160" y="0"/>
                    </a:lnTo>
                    <a:lnTo>
                      <a:pt x="149549" y="88528"/>
                    </a:lnTo>
                    <a:lnTo>
                      <a:pt x="107028" y="88528"/>
                    </a:lnTo>
                    <a:lnTo>
                      <a:pt x="127978" y="30242"/>
                    </a:lnTo>
                    <a:lnTo>
                      <a:pt x="89688" y="88528"/>
                    </a:lnTo>
                    <a:lnTo>
                      <a:pt x="54551" y="88528"/>
                    </a:lnTo>
                    <a:lnTo>
                      <a:pt x="57538" y="28518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3" name="Freeform: Shape 392">
                <a:extLst>
                  <a:ext uri="{FF2B5EF4-FFF2-40B4-BE49-F238E27FC236}">
                    <a16:creationId xmlns:a16="http://schemas.microsoft.com/office/drawing/2014/main" id="{C1BD009D-D420-472A-9ADA-C69C123515BD}"/>
                  </a:ext>
                </a:extLst>
              </p:cNvPr>
              <p:cNvSpPr/>
              <p:nvPr/>
            </p:nvSpPr>
            <p:spPr>
              <a:xfrm>
                <a:off x="6166717" y="2604122"/>
                <a:ext cx="92052" cy="88484"/>
              </a:xfrm>
              <a:custGeom>
                <a:avLst/>
                <a:gdLst>
                  <a:gd name="connsiteX0" fmla="*/ 31735 w 92052"/>
                  <a:gd name="connsiteY0" fmla="*/ 0 h 88484"/>
                  <a:gd name="connsiteX1" fmla="*/ 73882 w 92052"/>
                  <a:gd name="connsiteY1" fmla="*/ 0 h 88484"/>
                  <a:gd name="connsiteX2" fmla="*/ 51730 w 92052"/>
                  <a:gd name="connsiteY2" fmla="*/ 61948 h 88484"/>
                  <a:gd name="connsiteX3" fmla="*/ 92052 w 92052"/>
                  <a:gd name="connsiteY3" fmla="*/ 61948 h 88484"/>
                  <a:gd name="connsiteX4" fmla="*/ 82470 w 92052"/>
                  <a:gd name="connsiteY4" fmla="*/ 88485 h 88484"/>
                  <a:gd name="connsiteX5" fmla="*/ 0 w 92052"/>
                  <a:gd name="connsiteY5" fmla="*/ 88485 h 88484"/>
                  <a:gd name="connsiteX6" fmla="*/ 31735 w 92052"/>
                  <a:gd name="connsiteY6" fmla="*/ 0 h 8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052" h="88484">
                    <a:moveTo>
                      <a:pt x="31735" y="0"/>
                    </a:moveTo>
                    <a:lnTo>
                      <a:pt x="73882" y="0"/>
                    </a:lnTo>
                    <a:lnTo>
                      <a:pt x="51730" y="61948"/>
                    </a:lnTo>
                    <a:lnTo>
                      <a:pt x="92052" y="61948"/>
                    </a:lnTo>
                    <a:lnTo>
                      <a:pt x="82470" y="88485"/>
                    </a:lnTo>
                    <a:lnTo>
                      <a:pt x="0" y="88485"/>
                    </a:lnTo>
                    <a:lnTo>
                      <a:pt x="31735" y="0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94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4975843" y="2772647"/>
              <a:ext cx="1321214" cy="32094"/>
              <a:chOff x="4975843" y="2772647"/>
              <a:chExt cx="1321214" cy="32094"/>
            </a:xfrm>
            <a:solidFill>
              <a:srgbClr val="27509B"/>
            </a:solidFill>
          </p:grpSpPr>
          <p:grpSp>
            <p:nvGrpSpPr>
              <p:cNvPr id="395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5417023" y="2773078"/>
                <a:ext cx="175494" cy="31232"/>
                <a:chOff x="5417023" y="2773078"/>
                <a:chExt cx="175494" cy="31232"/>
              </a:xfrm>
              <a:solidFill>
                <a:srgbClr val="27509B"/>
              </a:solidFill>
            </p:grpSpPr>
            <p:sp>
              <p:nvSpPr>
                <p:cNvPr id="396" name="Freeform: Shape 395">
                  <a:extLst>
                    <a:ext uri="{FF2B5EF4-FFF2-40B4-BE49-F238E27FC236}">
                      <a16:creationId xmlns:a16="http://schemas.microsoft.com/office/drawing/2014/main" id="{423CEFB6-C3B6-4684-962F-AEACE741D456}"/>
                    </a:ext>
                  </a:extLst>
                </p:cNvPr>
                <p:cNvSpPr/>
                <p:nvPr/>
              </p:nvSpPr>
              <p:spPr>
                <a:xfrm>
                  <a:off x="5417023" y="2773078"/>
                  <a:ext cx="43140" cy="30413"/>
                </a:xfrm>
                <a:custGeom>
                  <a:avLst/>
                  <a:gdLst>
                    <a:gd name="connsiteX0" fmla="*/ 10910 w 43140"/>
                    <a:gd name="connsiteY0" fmla="*/ 0 h 30413"/>
                    <a:gd name="connsiteX1" fmla="*/ 34058 w 43140"/>
                    <a:gd name="connsiteY1" fmla="*/ 0 h 30413"/>
                    <a:gd name="connsiteX2" fmla="*/ 42687 w 43140"/>
                    <a:gd name="connsiteY2" fmla="*/ 9133 h 30413"/>
                    <a:gd name="connsiteX3" fmla="*/ 33809 w 43140"/>
                    <a:gd name="connsiteY3" fmla="*/ 15379 h 30413"/>
                    <a:gd name="connsiteX4" fmla="*/ 38705 w 43140"/>
                    <a:gd name="connsiteY4" fmla="*/ 24124 h 30413"/>
                    <a:gd name="connsiteX5" fmla="*/ 25513 w 43140"/>
                    <a:gd name="connsiteY5" fmla="*/ 30414 h 30413"/>
                    <a:gd name="connsiteX6" fmla="*/ 0 w 43140"/>
                    <a:gd name="connsiteY6" fmla="*/ 30414 h 30413"/>
                    <a:gd name="connsiteX7" fmla="*/ 10910 w 43140"/>
                    <a:gd name="connsiteY7" fmla="*/ 0 h 30413"/>
                    <a:gd name="connsiteX8" fmla="*/ 18792 w 43140"/>
                    <a:gd name="connsiteY8" fmla="*/ 18352 h 30413"/>
                    <a:gd name="connsiteX9" fmla="*/ 17423 w 43140"/>
                    <a:gd name="connsiteY9" fmla="*/ 22100 h 30413"/>
                    <a:gd name="connsiteX10" fmla="*/ 22692 w 43140"/>
                    <a:gd name="connsiteY10" fmla="*/ 22100 h 30413"/>
                    <a:gd name="connsiteX11" fmla="*/ 25471 w 43140"/>
                    <a:gd name="connsiteY11" fmla="*/ 20635 h 30413"/>
                    <a:gd name="connsiteX12" fmla="*/ 23812 w 43140"/>
                    <a:gd name="connsiteY12" fmla="*/ 18352 h 30413"/>
                    <a:gd name="connsiteX13" fmla="*/ 18792 w 43140"/>
                    <a:gd name="connsiteY13" fmla="*/ 18352 h 30413"/>
                    <a:gd name="connsiteX14" fmla="*/ 22401 w 43140"/>
                    <a:gd name="connsiteY14" fmla="*/ 8271 h 30413"/>
                    <a:gd name="connsiteX15" fmla="*/ 21116 w 43140"/>
                    <a:gd name="connsiteY15" fmla="*/ 11761 h 30413"/>
                    <a:gd name="connsiteX16" fmla="*/ 25139 w 43140"/>
                    <a:gd name="connsiteY16" fmla="*/ 11761 h 30413"/>
                    <a:gd name="connsiteX17" fmla="*/ 27753 w 43140"/>
                    <a:gd name="connsiteY17" fmla="*/ 10167 h 30413"/>
                    <a:gd name="connsiteX18" fmla="*/ 26384 w 43140"/>
                    <a:gd name="connsiteY18" fmla="*/ 8271 h 30413"/>
                    <a:gd name="connsiteX19" fmla="*/ 22401 w 43140"/>
                    <a:gd name="connsiteY19" fmla="*/ 8271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43140" h="30413">
                      <a:moveTo>
                        <a:pt x="10910" y="0"/>
                      </a:moveTo>
                      <a:lnTo>
                        <a:pt x="34058" y="0"/>
                      </a:lnTo>
                      <a:cubicBezTo>
                        <a:pt x="41816" y="0"/>
                        <a:pt x="44263" y="4437"/>
                        <a:pt x="42687" y="9133"/>
                      </a:cubicBezTo>
                      <a:cubicBezTo>
                        <a:pt x="41360" y="12924"/>
                        <a:pt x="38124" y="14992"/>
                        <a:pt x="33809" y="15379"/>
                      </a:cubicBezTo>
                      <a:cubicBezTo>
                        <a:pt x="38207" y="16025"/>
                        <a:pt x="40364" y="19601"/>
                        <a:pt x="38705" y="24124"/>
                      </a:cubicBezTo>
                      <a:cubicBezTo>
                        <a:pt x="37211" y="28346"/>
                        <a:pt x="33851" y="30414"/>
                        <a:pt x="25513" y="30414"/>
                      </a:cubicBezTo>
                      <a:lnTo>
                        <a:pt x="0" y="30414"/>
                      </a:lnTo>
                      <a:lnTo>
                        <a:pt x="10910" y="0"/>
                      </a:lnTo>
                      <a:close/>
                      <a:moveTo>
                        <a:pt x="18792" y="18352"/>
                      </a:moveTo>
                      <a:lnTo>
                        <a:pt x="17423" y="22100"/>
                      </a:lnTo>
                      <a:lnTo>
                        <a:pt x="22692" y="22100"/>
                      </a:lnTo>
                      <a:cubicBezTo>
                        <a:pt x="24144" y="22100"/>
                        <a:pt x="25056" y="21798"/>
                        <a:pt x="25471" y="20635"/>
                      </a:cubicBezTo>
                      <a:cubicBezTo>
                        <a:pt x="25927" y="19256"/>
                        <a:pt x="25596" y="18352"/>
                        <a:pt x="23812" y="18352"/>
                      </a:cubicBezTo>
                      <a:lnTo>
                        <a:pt x="18792" y="18352"/>
                      </a:lnTo>
                      <a:close/>
                      <a:moveTo>
                        <a:pt x="22401" y="8271"/>
                      </a:moveTo>
                      <a:lnTo>
                        <a:pt x="21116" y="11761"/>
                      </a:lnTo>
                      <a:lnTo>
                        <a:pt x="25139" y="11761"/>
                      </a:lnTo>
                      <a:cubicBezTo>
                        <a:pt x="26840" y="11761"/>
                        <a:pt x="27380" y="11157"/>
                        <a:pt x="27753" y="10167"/>
                      </a:cubicBezTo>
                      <a:cubicBezTo>
                        <a:pt x="28126" y="9176"/>
                        <a:pt x="28002" y="8271"/>
                        <a:pt x="26384" y="8271"/>
                      </a:cubicBezTo>
                      <a:lnTo>
                        <a:pt x="22401" y="82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7" name="Freeform: Shape 396">
                  <a:extLst>
                    <a:ext uri="{FF2B5EF4-FFF2-40B4-BE49-F238E27FC236}">
                      <a16:creationId xmlns:a16="http://schemas.microsoft.com/office/drawing/2014/main" id="{400489F7-6541-447D-B440-0649FBA1CD27}"/>
                    </a:ext>
                  </a:extLst>
                </p:cNvPr>
                <p:cNvSpPr/>
                <p:nvPr/>
              </p:nvSpPr>
              <p:spPr>
                <a:xfrm>
                  <a:off x="5459361" y="2773078"/>
                  <a:ext cx="43118" cy="31232"/>
                </a:xfrm>
                <a:custGeom>
                  <a:avLst/>
                  <a:gdLst>
                    <a:gd name="connsiteX0" fmla="*/ 36937 w 43118"/>
                    <a:gd name="connsiteY0" fmla="*/ 17318 h 31232"/>
                    <a:gd name="connsiteX1" fmla="*/ 15199 w 43118"/>
                    <a:gd name="connsiteY1" fmla="*/ 31232 h 31232"/>
                    <a:gd name="connsiteX2" fmla="*/ 929 w 43118"/>
                    <a:gd name="connsiteY2" fmla="*/ 17232 h 31232"/>
                    <a:gd name="connsiteX3" fmla="*/ 7152 w 43118"/>
                    <a:gd name="connsiteY3" fmla="*/ 0 h 31232"/>
                    <a:gd name="connsiteX4" fmla="*/ 21630 w 43118"/>
                    <a:gd name="connsiteY4" fmla="*/ 0 h 31232"/>
                    <a:gd name="connsiteX5" fmla="*/ 15282 w 43118"/>
                    <a:gd name="connsiteY5" fmla="*/ 17749 h 31232"/>
                    <a:gd name="connsiteX6" fmla="*/ 17564 w 43118"/>
                    <a:gd name="connsiteY6" fmla="*/ 22100 h 31232"/>
                    <a:gd name="connsiteX7" fmla="*/ 22293 w 43118"/>
                    <a:gd name="connsiteY7" fmla="*/ 17792 h 31232"/>
                    <a:gd name="connsiteX8" fmla="*/ 28641 w 43118"/>
                    <a:gd name="connsiteY8" fmla="*/ 0 h 31232"/>
                    <a:gd name="connsiteX9" fmla="*/ 43118 w 43118"/>
                    <a:gd name="connsiteY9" fmla="*/ 0 h 31232"/>
                    <a:gd name="connsiteX10" fmla="*/ 36937 w 43118"/>
                    <a:gd name="connsiteY10" fmla="*/ 17318 h 31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3118" h="31232">
                      <a:moveTo>
                        <a:pt x="36937" y="17318"/>
                      </a:moveTo>
                      <a:cubicBezTo>
                        <a:pt x="33162" y="27915"/>
                        <a:pt x="27064" y="31232"/>
                        <a:pt x="15199" y="31232"/>
                      </a:cubicBezTo>
                      <a:cubicBezTo>
                        <a:pt x="2506" y="31232"/>
                        <a:pt x="-2182" y="25891"/>
                        <a:pt x="929" y="17232"/>
                      </a:cubicBezTo>
                      <a:lnTo>
                        <a:pt x="7152" y="0"/>
                      </a:lnTo>
                      <a:lnTo>
                        <a:pt x="21630" y="0"/>
                      </a:lnTo>
                      <a:lnTo>
                        <a:pt x="15282" y="17749"/>
                      </a:lnTo>
                      <a:cubicBezTo>
                        <a:pt x="14162" y="20807"/>
                        <a:pt x="15199" y="22100"/>
                        <a:pt x="17564" y="22100"/>
                      </a:cubicBezTo>
                      <a:cubicBezTo>
                        <a:pt x="19514" y="22100"/>
                        <a:pt x="21007" y="21324"/>
                        <a:pt x="22293" y="17792"/>
                      </a:cubicBezTo>
                      <a:lnTo>
                        <a:pt x="28641" y="0"/>
                      </a:lnTo>
                      <a:lnTo>
                        <a:pt x="43118" y="0"/>
                      </a:lnTo>
                      <a:lnTo>
                        <a:pt x="36937" y="17318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8" name="Freeform: Shape 397">
                  <a:extLst>
                    <a:ext uri="{FF2B5EF4-FFF2-40B4-BE49-F238E27FC236}">
                      <a16:creationId xmlns:a16="http://schemas.microsoft.com/office/drawing/2014/main" id="{125A36CB-338B-4992-B05A-95129C3F8C49}"/>
                    </a:ext>
                  </a:extLst>
                </p:cNvPr>
                <p:cNvSpPr/>
                <p:nvPr/>
              </p:nvSpPr>
              <p:spPr>
                <a:xfrm>
                  <a:off x="5496589" y="2773078"/>
                  <a:ext cx="25346" cy="30370"/>
                </a:xfrm>
                <a:custGeom>
                  <a:avLst/>
                  <a:gdLst>
                    <a:gd name="connsiteX0" fmla="*/ 0 w 25346"/>
                    <a:gd name="connsiteY0" fmla="*/ 30371 h 30370"/>
                    <a:gd name="connsiteX1" fmla="*/ 10869 w 25346"/>
                    <a:gd name="connsiteY1" fmla="*/ 0 h 30370"/>
                    <a:gd name="connsiteX2" fmla="*/ 25346 w 25346"/>
                    <a:gd name="connsiteY2" fmla="*/ 0 h 30370"/>
                    <a:gd name="connsiteX3" fmla="*/ 14478 w 25346"/>
                    <a:gd name="connsiteY3" fmla="*/ 30371 h 30370"/>
                    <a:gd name="connsiteX4" fmla="*/ 0 w 25346"/>
                    <a:gd name="connsiteY4" fmla="*/ 303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346" h="30370">
                      <a:moveTo>
                        <a:pt x="0" y="30371"/>
                      </a:moveTo>
                      <a:lnTo>
                        <a:pt x="10869" y="0"/>
                      </a:lnTo>
                      <a:lnTo>
                        <a:pt x="25346" y="0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9" name="Freeform: Shape 398">
                  <a:extLst>
                    <a:ext uri="{FF2B5EF4-FFF2-40B4-BE49-F238E27FC236}">
                      <a16:creationId xmlns:a16="http://schemas.microsoft.com/office/drawing/2014/main" id="{192BE8DD-8B7D-4CA5-A067-D7679B29F3CB}"/>
                    </a:ext>
                  </a:extLst>
                </p:cNvPr>
                <p:cNvSpPr/>
                <p:nvPr/>
              </p:nvSpPr>
              <p:spPr>
                <a:xfrm>
                  <a:off x="5516916" y="2773078"/>
                  <a:ext cx="31569" cy="30370"/>
                </a:xfrm>
                <a:custGeom>
                  <a:avLst/>
                  <a:gdLst>
                    <a:gd name="connsiteX0" fmla="*/ 10827 w 31569"/>
                    <a:gd name="connsiteY0" fmla="*/ 0 h 30370"/>
                    <a:gd name="connsiteX1" fmla="*/ 25305 w 31569"/>
                    <a:gd name="connsiteY1" fmla="*/ 0 h 30370"/>
                    <a:gd name="connsiteX2" fmla="*/ 17714 w 31569"/>
                    <a:gd name="connsiteY2" fmla="*/ 21281 h 30370"/>
                    <a:gd name="connsiteX3" fmla="*/ 31569 w 31569"/>
                    <a:gd name="connsiteY3" fmla="*/ 21281 h 30370"/>
                    <a:gd name="connsiteX4" fmla="*/ 28292 w 31569"/>
                    <a:gd name="connsiteY4" fmla="*/ 30371 h 30370"/>
                    <a:gd name="connsiteX5" fmla="*/ 0 w 31569"/>
                    <a:gd name="connsiteY5" fmla="*/ 30371 h 30370"/>
                    <a:gd name="connsiteX6" fmla="*/ 10827 w 31569"/>
                    <a:gd name="connsiteY6" fmla="*/ 0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569" h="30370">
                      <a:moveTo>
                        <a:pt x="10827" y="0"/>
                      </a:moveTo>
                      <a:lnTo>
                        <a:pt x="25305" y="0"/>
                      </a:lnTo>
                      <a:lnTo>
                        <a:pt x="17714" y="21281"/>
                      </a:lnTo>
                      <a:lnTo>
                        <a:pt x="31569" y="21281"/>
                      </a:lnTo>
                      <a:lnTo>
                        <a:pt x="28292" y="30371"/>
                      </a:lnTo>
                      <a:lnTo>
                        <a:pt x="0" y="30371"/>
                      </a:lnTo>
                      <a:lnTo>
                        <a:pt x="10827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0" name="Freeform: Shape 399">
                  <a:extLst>
                    <a:ext uri="{FF2B5EF4-FFF2-40B4-BE49-F238E27FC236}">
                      <a16:creationId xmlns:a16="http://schemas.microsoft.com/office/drawing/2014/main" id="{1B42C17F-2368-4FAA-87C7-A2680757D989}"/>
                    </a:ext>
                  </a:extLst>
                </p:cNvPr>
                <p:cNvSpPr/>
                <p:nvPr/>
              </p:nvSpPr>
              <p:spPr>
                <a:xfrm>
                  <a:off x="5549356" y="2773078"/>
                  <a:ext cx="43161" cy="30370"/>
                </a:xfrm>
                <a:custGeom>
                  <a:avLst/>
                  <a:gdLst>
                    <a:gd name="connsiteX0" fmla="*/ 10869 w 43161"/>
                    <a:gd name="connsiteY0" fmla="*/ 0 h 30370"/>
                    <a:gd name="connsiteX1" fmla="*/ 26260 w 43161"/>
                    <a:gd name="connsiteY1" fmla="*/ 0 h 30370"/>
                    <a:gd name="connsiteX2" fmla="*/ 41816 w 43161"/>
                    <a:gd name="connsiteY2" fmla="*/ 17490 h 30370"/>
                    <a:gd name="connsiteX3" fmla="*/ 20700 w 43161"/>
                    <a:gd name="connsiteY3" fmla="*/ 30371 h 30370"/>
                    <a:gd name="connsiteX4" fmla="*/ 0 w 43161"/>
                    <a:gd name="connsiteY4" fmla="*/ 30371 h 30370"/>
                    <a:gd name="connsiteX5" fmla="*/ 10869 w 43161"/>
                    <a:gd name="connsiteY5" fmla="*/ 0 h 30370"/>
                    <a:gd name="connsiteX6" fmla="*/ 22194 w 43161"/>
                    <a:gd name="connsiteY6" fmla="*/ 8702 h 30370"/>
                    <a:gd name="connsiteX7" fmla="*/ 17548 w 43161"/>
                    <a:gd name="connsiteY7" fmla="*/ 21712 h 30370"/>
                    <a:gd name="connsiteX8" fmla="*/ 20700 w 43161"/>
                    <a:gd name="connsiteY8" fmla="*/ 21712 h 30370"/>
                    <a:gd name="connsiteX9" fmla="*/ 28002 w 43161"/>
                    <a:gd name="connsiteY9" fmla="*/ 15465 h 30370"/>
                    <a:gd name="connsiteX10" fmla="*/ 25056 w 43161"/>
                    <a:gd name="connsiteY10" fmla="*/ 8702 h 30370"/>
                    <a:gd name="connsiteX11" fmla="*/ 22194 w 43161"/>
                    <a:gd name="connsiteY11" fmla="*/ 8702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3161" h="30370">
                      <a:moveTo>
                        <a:pt x="10869" y="0"/>
                      </a:moveTo>
                      <a:lnTo>
                        <a:pt x="26260" y="0"/>
                      </a:lnTo>
                      <a:cubicBezTo>
                        <a:pt x="42272" y="0"/>
                        <a:pt x="45425" y="7280"/>
                        <a:pt x="41816" y="17490"/>
                      </a:cubicBezTo>
                      <a:cubicBezTo>
                        <a:pt x="38289" y="27355"/>
                        <a:pt x="30615" y="30371"/>
                        <a:pt x="20700" y="30371"/>
                      </a:cubicBezTo>
                      <a:lnTo>
                        <a:pt x="0" y="30371"/>
                      </a:lnTo>
                      <a:lnTo>
                        <a:pt x="10869" y="0"/>
                      </a:lnTo>
                      <a:close/>
                      <a:moveTo>
                        <a:pt x="22194" y="8702"/>
                      </a:moveTo>
                      <a:lnTo>
                        <a:pt x="17548" y="21712"/>
                      </a:lnTo>
                      <a:lnTo>
                        <a:pt x="20700" y="21712"/>
                      </a:lnTo>
                      <a:cubicBezTo>
                        <a:pt x="24309" y="21712"/>
                        <a:pt x="26384" y="20161"/>
                        <a:pt x="28002" y="15465"/>
                      </a:cubicBezTo>
                      <a:cubicBezTo>
                        <a:pt x="29619" y="10813"/>
                        <a:pt x="29122" y="8702"/>
                        <a:pt x="25056" y="8702"/>
                      </a:cubicBezTo>
                      <a:lnTo>
                        <a:pt x="22194" y="8702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01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5705791" y="2772647"/>
                <a:ext cx="289887" cy="32094"/>
                <a:chOff x="5705791" y="2772647"/>
                <a:chExt cx="289887" cy="32094"/>
              </a:xfrm>
              <a:solidFill>
                <a:srgbClr val="27509B"/>
              </a:solidFill>
            </p:grpSpPr>
            <p:sp>
              <p:nvSpPr>
                <p:cNvPr id="402" name="Freeform: Shape 401">
                  <a:extLst>
                    <a:ext uri="{FF2B5EF4-FFF2-40B4-BE49-F238E27FC236}">
                      <a16:creationId xmlns:a16="http://schemas.microsoft.com/office/drawing/2014/main" id="{6F6AF9D3-B48E-4E52-926D-7F03A826F782}"/>
                    </a:ext>
                  </a:extLst>
                </p:cNvPr>
                <p:cNvSpPr/>
                <p:nvPr/>
              </p:nvSpPr>
              <p:spPr>
                <a:xfrm>
                  <a:off x="5705791" y="2773466"/>
                  <a:ext cx="62184" cy="30413"/>
                </a:xfrm>
                <a:custGeom>
                  <a:avLst/>
                  <a:gdLst>
                    <a:gd name="connsiteX0" fmla="*/ 19746 w 62184"/>
                    <a:gd name="connsiteY0" fmla="*/ 9822 h 30413"/>
                    <a:gd name="connsiteX1" fmla="*/ 12404 w 62184"/>
                    <a:gd name="connsiteY1" fmla="*/ 30414 h 30413"/>
                    <a:gd name="connsiteX2" fmla="*/ 0 w 62184"/>
                    <a:gd name="connsiteY2" fmla="*/ 30414 h 30413"/>
                    <a:gd name="connsiteX3" fmla="*/ 10910 w 62184"/>
                    <a:gd name="connsiteY3" fmla="*/ 43 h 30413"/>
                    <a:gd name="connsiteX4" fmla="*/ 26840 w 62184"/>
                    <a:gd name="connsiteY4" fmla="*/ 43 h 30413"/>
                    <a:gd name="connsiteX5" fmla="*/ 31403 w 62184"/>
                    <a:gd name="connsiteY5" fmla="*/ 5816 h 30413"/>
                    <a:gd name="connsiteX6" fmla="*/ 30988 w 62184"/>
                    <a:gd name="connsiteY6" fmla="*/ 14862 h 30413"/>
                    <a:gd name="connsiteX7" fmla="*/ 40031 w 62184"/>
                    <a:gd name="connsiteY7" fmla="*/ 0 h 30413"/>
                    <a:gd name="connsiteX8" fmla="*/ 62184 w 62184"/>
                    <a:gd name="connsiteY8" fmla="*/ 0 h 30413"/>
                    <a:gd name="connsiteX9" fmla="*/ 51356 w 62184"/>
                    <a:gd name="connsiteY9" fmla="*/ 30371 h 30413"/>
                    <a:gd name="connsiteX10" fmla="*/ 36755 w 62184"/>
                    <a:gd name="connsiteY10" fmla="*/ 30371 h 30413"/>
                    <a:gd name="connsiteX11" fmla="*/ 43931 w 62184"/>
                    <a:gd name="connsiteY11" fmla="*/ 10382 h 30413"/>
                    <a:gd name="connsiteX12" fmla="*/ 30781 w 62184"/>
                    <a:gd name="connsiteY12" fmla="*/ 30371 h 30413"/>
                    <a:gd name="connsiteX13" fmla="*/ 18750 w 62184"/>
                    <a:gd name="connsiteY13" fmla="*/ 30371 h 30413"/>
                    <a:gd name="connsiteX14" fmla="*/ 19746 w 62184"/>
                    <a:gd name="connsiteY14" fmla="*/ 9822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184" h="30413">
                      <a:moveTo>
                        <a:pt x="19746" y="9822"/>
                      </a:moveTo>
                      <a:lnTo>
                        <a:pt x="12404" y="30414"/>
                      </a:lnTo>
                      <a:lnTo>
                        <a:pt x="0" y="30414"/>
                      </a:lnTo>
                      <a:lnTo>
                        <a:pt x="10910" y="43"/>
                      </a:lnTo>
                      <a:lnTo>
                        <a:pt x="26840" y="43"/>
                      </a:lnTo>
                      <a:cubicBezTo>
                        <a:pt x="30532" y="43"/>
                        <a:pt x="31528" y="2111"/>
                        <a:pt x="31403" y="5816"/>
                      </a:cubicBezTo>
                      <a:lnTo>
                        <a:pt x="30988" y="14862"/>
                      </a:lnTo>
                      <a:lnTo>
                        <a:pt x="40031" y="0"/>
                      </a:lnTo>
                      <a:lnTo>
                        <a:pt x="62184" y="0"/>
                      </a:lnTo>
                      <a:lnTo>
                        <a:pt x="51356" y="30371"/>
                      </a:lnTo>
                      <a:lnTo>
                        <a:pt x="36755" y="30371"/>
                      </a:lnTo>
                      <a:lnTo>
                        <a:pt x="43931" y="10382"/>
                      </a:lnTo>
                      <a:lnTo>
                        <a:pt x="30781" y="30371"/>
                      </a:lnTo>
                      <a:lnTo>
                        <a:pt x="18750" y="30371"/>
                      </a:lnTo>
                      <a:lnTo>
                        <a:pt x="19746" y="9822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3" name="Freeform: Shape 402">
                  <a:extLst>
                    <a:ext uri="{FF2B5EF4-FFF2-40B4-BE49-F238E27FC236}">
                      <a16:creationId xmlns:a16="http://schemas.microsoft.com/office/drawing/2014/main" id="{3058720D-A60E-4D4F-A829-63F0644D1857}"/>
                    </a:ext>
                  </a:extLst>
                </p:cNvPr>
                <p:cNvSpPr/>
                <p:nvPr/>
              </p:nvSpPr>
              <p:spPr>
                <a:xfrm>
                  <a:off x="5762955" y="2773509"/>
                  <a:ext cx="41318" cy="30413"/>
                </a:xfrm>
                <a:custGeom>
                  <a:avLst/>
                  <a:gdLst>
                    <a:gd name="connsiteX0" fmla="*/ 10869 w 41318"/>
                    <a:gd name="connsiteY0" fmla="*/ 0 h 30413"/>
                    <a:gd name="connsiteX1" fmla="*/ 41318 w 41318"/>
                    <a:gd name="connsiteY1" fmla="*/ 0 h 30413"/>
                    <a:gd name="connsiteX2" fmla="*/ 38372 w 41318"/>
                    <a:gd name="connsiteY2" fmla="*/ 8271 h 30413"/>
                    <a:gd name="connsiteX3" fmla="*/ 22360 w 41318"/>
                    <a:gd name="connsiteY3" fmla="*/ 8271 h 30413"/>
                    <a:gd name="connsiteX4" fmla="*/ 21364 w 41318"/>
                    <a:gd name="connsiteY4" fmla="*/ 11028 h 30413"/>
                    <a:gd name="connsiteX5" fmla="*/ 35800 w 41318"/>
                    <a:gd name="connsiteY5" fmla="*/ 11028 h 30413"/>
                    <a:gd name="connsiteX6" fmla="*/ 32772 w 41318"/>
                    <a:gd name="connsiteY6" fmla="*/ 19299 h 30413"/>
                    <a:gd name="connsiteX7" fmla="*/ 18419 w 41318"/>
                    <a:gd name="connsiteY7" fmla="*/ 19299 h 30413"/>
                    <a:gd name="connsiteX8" fmla="*/ 17382 w 41318"/>
                    <a:gd name="connsiteY8" fmla="*/ 22143 h 30413"/>
                    <a:gd name="connsiteX9" fmla="*/ 33395 w 41318"/>
                    <a:gd name="connsiteY9" fmla="*/ 22143 h 30413"/>
                    <a:gd name="connsiteX10" fmla="*/ 30449 w 41318"/>
                    <a:gd name="connsiteY10" fmla="*/ 30414 h 30413"/>
                    <a:gd name="connsiteX11" fmla="*/ 0 w 41318"/>
                    <a:gd name="connsiteY11" fmla="*/ 30414 h 30413"/>
                    <a:gd name="connsiteX12" fmla="*/ 10869 w 41318"/>
                    <a:gd name="connsiteY12" fmla="*/ 0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318" h="30413">
                      <a:moveTo>
                        <a:pt x="10869" y="0"/>
                      </a:moveTo>
                      <a:lnTo>
                        <a:pt x="41318" y="0"/>
                      </a:lnTo>
                      <a:lnTo>
                        <a:pt x="38372" y="8271"/>
                      </a:lnTo>
                      <a:lnTo>
                        <a:pt x="22360" y="8271"/>
                      </a:lnTo>
                      <a:lnTo>
                        <a:pt x="21364" y="11028"/>
                      </a:lnTo>
                      <a:lnTo>
                        <a:pt x="35800" y="11028"/>
                      </a:lnTo>
                      <a:lnTo>
                        <a:pt x="32772" y="19299"/>
                      </a:lnTo>
                      <a:lnTo>
                        <a:pt x="18419" y="19299"/>
                      </a:lnTo>
                      <a:lnTo>
                        <a:pt x="17382" y="22143"/>
                      </a:lnTo>
                      <a:lnTo>
                        <a:pt x="33395" y="22143"/>
                      </a:lnTo>
                      <a:lnTo>
                        <a:pt x="30449" y="30414"/>
                      </a:lnTo>
                      <a:lnTo>
                        <a:pt x="0" y="30414"/>
                      </a:lnTo>
                      <a:lnTo>
                        <a:pt x="10869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4" name="Freeform: Shape 403">
                  <a:extLst>
                    <a:ext uri="{FF2B5EF4-FFF2-40B4-BE49-F238E27FC236}">
                      <a16:creationId xmlns:a16="http://schemas.microsoft.com/office/drawing/2014/main" id="{B9AB158F-ED09-4A08-ABC1-11C68C47E136}"/>
                    </a:ext>
                  </a:extLst>
                </p:cNvPr>
                <p:cNvSpPr/>
                <p:nvPr/>
              </p:nvSpPr>
              <p:spPr>
                <a:xfrm>
                  <a:off x="5796308" y="2773509"/>
                  <a:ext cx="42437" cy="30370"/>
                </a:xfrm>
                <a:custGeom>
                  <a:avLst/>
                  <a:gdLst>
                    <a:gd name="connsiteX0" fmla="*/ 28375 w 42437"/>
                    <a:gd name="connsiteY0" fmla="*/ 26063 h 30370"/>
                    <a:gd name="connsiteX1" fmla="*/ 17506 w 42437"/>
                    <a:gd name="connsiteY1" fmla="*/ 26063 h 30370"/>
                    <a:gd name="connsiteX2" fmla="*/ 14851 w 42437"/>
                    <a:gd name="connsiteY2" fmla="*/ 30371 h 30370"/>
                    <a:gd name="connsiteX3" fmla="*/ 0 w 42437"/>
                    <a:gd name="connsiteY3" fmla="*/ 30371 h 30370"/>
                    <a:gd name="connsiteX4" fmla="*/ 17381 w 42437"/>
                    <a:gd name="connsiteY4" fmla="*/ 4696 h 30370"/>
                    <a:gd name="connsiteX5" fmla="*/ 25430 w 42437"/>
                    <a:gd name="connsiteY5" fmla="*/ 0 h 30370"/>
                    <a:gd name="connsiteX6" fmla="*/ 42438 w 42437"/>
                    <a:gd name="connsiteY6" fmla="*/ 0 h 30370"/>
                    <a:gd name="connsiteX7" fmla="*/ 41608 w 42437"/>
                    <a:gd name="connsiteY7" fmla="*/ 30371 h 30370"/>
                    <a:gd name="connsiteX8" fmla="*/ 28126 w 42437"/>
                    <a:gd name="connsiteY8" fmla="*/ 30371 h 30370"/>
                    <a:gd name="connsiteX9" fmla="*/ 28375 w 42437"/>
                    <a:gd name="connsiteY9" fmla="*/ 26063 h 30370"/>
                    <a:gd name="connsiteX10" fmla="*/ 29412 w 42437"/>
                    <a:gd name="connsiteY10" fmla="*/ 6979 h 30370"/>
                    <a:gd name="connsiteX11" fmla="*/ 22941 w 42437"/>
                    <a:gd name="connsiteY11" fmla="*/ 17404 h 30370"/>
                    <a:gd name="connsiteX12" fmla="*/ 28831 w 42437"/>
                    <a:gd name="connsiteY12" fmla="*/ 17404 h 30370"/>
                    <a:gd name="connsiteX13" fmla="*/ 29412 w 42437"/>
                    <a:gd name="connsiteY13" fmla="*/ 6979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2437" h="30370">
                      <a:moveTo>
                        <a:pt x="28375" y="26063"/>
                      </a:moveTo>
                      <a:lnTo>
                        <a:pt x="17506" y="26063"/>
                      </a:lnTo>
                      <a:lnTo>
                        <a:pt x="14851" y="30371"/>
                      </a:lnTo>
                      <a:lnTo>
                        <a:pt x="0" y="30371"/>
                      </a:lnTo>
                      <a:lnTo>
                        <a:pt x="17381" y="4696"/>
                      </a:lnTo>
                      <a:cubicBezTo>
                        <a:pt x="19663" y="1335"/>
                        <a:pt x="21904" y="0"/>
                        <a:pt x="25430" y="0"/>
                      </a:cubicBezTo>
                      <a:lnTo>
                        <a:pt x="42438" y="0"/>
                      </a:lnTo>
                      <a:lnTo>
                        <a:pt x="41608" y="30371"/>
                      </a:lnTo>
                      <a:lnTo>
                        <a:pt x="28126" y="30371"/>
                      </a:lnTo>
                      <a:lnTo>
                        <a:pt x="28375" y="26063"/>
                      </a:lnTo>
                      <a:close/>
                      <a:moveTo>
                        <a:pt x="29412" y="6979"/>
                      </a:moveTo>
                      <a:lnTo>
                        <a:pt x="22941" y="17404"/>
                      </a:lnTo>
                      <a:lnTo>
                        <a:pt x="28831" y="17404"/>
                      </a:lnTo>
                      <a:lnTo>
                        <a:pt x="29412" y="6979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5" name="Freeform: Shape 404">
                  <a:extLst>
                    <a:ext uri="{FF2B5EF4-FFF2-40B4-BE49-F238E27FC236}">
                      <a16:creationId xmlns:a16="http://schemas.microsoft.com/office/drawing/2014/main" id="{899F85E3-FDF8-4434-ACC7-D65754AB51E8}"/>
                    </a:ext>
                  </a:extLst>
                </p:cNvPr>
                <p:cNvSpPr/>
                <p:nvPr/>
              </p:nvSpPr>
              <p:spPr>
                <a:xfrm>
                  <a:off x="5840572" y="2772647"/>
                  <a:ext cx="38206" cy="32052"/>
                </a:xfrm>
                <a:custGeom>
                  <a:avLst/>
                  <a:gdLst>
                    <a:gd name="connsiteX0" fmla="*/ 0 w 38206"/>
                    <a:gd name="connsiteY0" fmla="*/ 29811 h 32052"/>
                    <a:gd name="connsiteX1" fmla="*/ 2945 w 38206"/>
                    <a:gd name="connsiteY1" fmla="*/ 21669 h 32052"/>
                    <a:gd name="connsiteX2" fmla="*/ 13689 w 38206"/>
                    <a:gd name="connsiteY2" fmla="*/ 23651 h 32052"/>
                    <a:gd name="connsiteX3" fmla="*/ 19248 w 38206"/>
                    <a:gd name="connsiteY3" fmla="*/ 22272 h 32052"/>
                    <a:gd name="connsiteX4" fmla="*/ 18335 w 38206"/>
                    <a:gd name="connsiteY4" fmla="*/ 20549 h 32052"/>
                    <a:gd name="connsiteX5" fmla="*/ 14187 w 38206"/>
                    <a:gd name="connsiteY5" fmla="*/ 19903 h 32052"/>
                    <a:gd name="connsiteX6" fmla="*/ 6388 w 38206"/>
                    <a:gd name="connsiteY6" fmla="*/ 8831 h 32052"/>
                    <a:gd name="connsiteX7" fmla="*/ 24226 w 38206"/>
                    <a:gd name="connsiteY7" fmla="*/ 0 h 32052"/>
                    <a:gd name="connsiteX8" fmla="*/ 38206 w 38206"/>
                    <a:gd name="connsiteY8" fmla="*/ 2154 h 32052"/>
                    <a:gd name="connsiteX9" fmla="*/ 35303 w 38206"/>
                    <a:gd name="connsiteY9" fmla="*/ 10296 h 32052"/>
                    <a:gd name="connsiteX10" fmla="*/ 24932 w 38206"/>
                    <a:gd name="connsiteY10" fmla="*/ 8443 h 32052"/>
                    <a:gd name="connsiteX11" fmla="*/ 20285 w 38206"/>
                    <a:gd name="connsiteY11" fmla="*/ 9650 h 32052"/>
                    <a:gd name="connsiteX12" fmla="*/ 21115 w 38206"/>
                    <a:gd name="connsiteY12" fmla="*/ 11115 h 32052"/>
                    <a:gd name="connsiteX13" fmla="*/ 25263 w 38206"/>
                    <a:gd name="connsiteY13" fmla="*/ 11761 h 32052"/>
                    <a:gd name="connsiteX14" fmla="*/ 33021 w 38206"/>
                    <a:gd name="connsiteY14" fmla="*/ 23349 h 32052"/>
                    <a:gd name="connsiteX15" fmla="*/ 15349 w 38206"/>
                    <a:gd name="connsiteY15" fmla="*/ 32051 h 32052"/>
                    <a:gd name="connsiteX16" fmla="*/ 0 w 38206"/>
                    <a:gd name="connsiteY16" fmla="*/ 29811 h 320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8206" h="32052">
                      <a:moveTo>
                        <a:pt x="0" y="29811"/>
                      </a:moveTo>
                      <a:lnTo>
                        <a:pt x="2945" y="21669"/>
                      </a:lnTo>
                      <a:cubicBezTo>
                        <a:pt x="5476" y="22703"/>
                        <a:pt x="10122" y="23651"/>
                        <a:pt x="13689" y="23651"/>
                      </a:cubicBezTo>
                      <a:cubicBezTo>
                        <a:pt x="17589" y="23651"/>
                        <a:pt x="18709" y="23435"/>
                        <a:pt x="19248" y="22272"/>
                      </a:cubicBezTo>
                      <a:cubicBezTo>
                        <a:pt x="19705" y="21195"/>
                        <a:pt x="19124" y="20678"/>
                        <a:pt x="18335" y="20549"/>
                      </a:cubicBezTo>
                      <a:lnTo>
                        <a:pt x="14187" y="19903"/>
                      </a:lnTo>
                      <a:cubicBezTo>
                        <a:pt x="5973" y="18653"/>
                        <a:pt x="4397" y="14518"/>
                        <a:pt x="6388" y="8831"/>
                      </a:cubicBezTo>
                      <a:cubicBezTo>
                        <a:pt x="8711" y="2283"/>
                        <a:pt x="15100" y="0"/>
                        <a:pt x="24226" y="0"/>
                      </a:cubicBezTo>
                      <a:cubicBezTo>
                        <a:pt x="30200" y="0"/>
                        <a:pt x="34307" y="732"/>
                        <a:pt x="38206" y="2154"/>
                      </a:cubicBezTo>
                      <a:lnTo>
                        <a:pt x="35303" y="10296"/>
                      </a:lnTo>
                      <a:cubicBezTo>
                        <a:pt x="33021" y="9391"/>
                        <a:pt x="28873" y="8443"/>
                        <a:pt x="24932" y="8443"/>
                      </a:cubicBezTo>
                      <a:cubicBezTo>
                        <a:pt x="21820" y="8443"/>
                        <a:pt x="20659" y="8616"/>
                        <a:pt x="20285" y="9650"/>
                      </a:cubicBezTo>
                      <a:cubicBezTo>
                        <a:pt x="19912" y="10684"/>
                        <a:pt x="20327" y="10985"/>
                        <a:pt x="21115" y="11115"/>
                      </a:cubicBezTo>
                      <a:lnTo>
                        <a:pt x="25263" y="11761"/>
                      </a:lnTo>
                      <a:cubicBezTo>
                        <a:pt x="33602" y="13010"/>
                        <a:pt x="35261" y="17447"/>
                        <a:pt x="33021" y="23349"/>
                      </a:cubicBezTo>
                      <a:cubicBezTo>
                        <a:pt x="30490" y="30112"/>
                        <a:pt x="24351" y="32051"/>
                        <a:pt x="15349" y="32051"/>
                      </a:cubicBezTo>
                      <a:cubicBezTo>
                        <a:pt x="8711" y="32094"/>
                        <a:pt x="4190" y="31362"/>
                        <a:pt x="0" y="29811"/>
                      </a:cubicBez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6" name="Freeform: Shape 405">
                  <a:extLst>
                    <a:ext uri="{FF2B5EF4-FFF2-40B4-BE49-F238E27FC236}">
                      <a16:creationId xmlns:a16="http://schemas.microsoft.com/office/drawing/2014/main" id="{AACB7AD8-1194-4B21-81E0-40FFDEDDA93B}"/>
                    </a:ext>
                  </a:extLst>
                </p:cNvPr>
                <p:cNvSpPr/>
                <p:nvPr/>
              </p:nvSpPr>
              <p:spPr>
                <a:xfrm>
                  <a:off x="5877226" y="2773509"/>
                  <a:ext cx="43118" cy="31232"/>
                </a:xfrm>
                <a:custGeom>
                  <a:avLst/>
                  <a:gdLst>
                    <a:gd name="connsiteX0" fmla="*/ 36937 w 43118"/>
                    <a:gd name="connsiteY0" fmla="*/ 17318 h 31232"/>
                    <a:gd name="connsiteX1" fmla="*/ 15200 w 43118"/>
                    <a:gd name="connsiteY1" fmla="*/ 31232 h 31232"/>
                    <a:gd name="connsiteX2" fmla="*/ 929 w 43118"/>
                    <a:gd name="connsiteY2" fmla="*/ 17232 h 31232"/>
                    <a:gd name="connsiteX3" fmla="*/ 7152 w 43118"/>
                    <a:gd name="connsiteY3" fmla="*/ 0 h 31232"/>
                    <a:gd name="connsiteX4" fmla="*/ 21630 w 43118"/>
                    <a:gd name="connsiteY4" fmla="*/ 0 h 31232"/>
                    <a:gd name="connsiteX5" fmla="*/ 15282 w 43118"/>
                    <a:gd name="connsiteY5" fmla="*/ 17749 h 31232"/>
                    <a:gd name="connsiteX6" fmla="*/ 17564 w 43118"/>
                    <a:gd name="connsiteY6" fmla="*/ 22100 h 31232"/>
                    <a:gd name="connsiteX7" fmla="*/ 22293 w 43118"/>
                    <a:gd name="connsiteY7" fmla="*/ 17792 h 31232"/>
                    <a:gd name="connsiteX8" fmla="*/ 28641 w 43118"/>
                    <a:gd name="connsiteY8" fmla="*/ 0 h 31232"/>
                    <a:gd name="connsiteX9" fmla="*/ 43118 w 43118"/>
                    <a:gd name="connsiteY9" fmla="*/ 0 h 31232"/>
                    <a:gd name="connsiteX10" fmla="*/ 36937 w 43118"/>
                    <a:gd name="connsiteY10" fmla="*/ 17318 h 31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3118" h="31232">
                      <a:moveTo>
                        <a:pt x="36937" y="17318"/>
                      </a:moveTo>
                      <a:cubicBezTo>
                        <a:pt x="33162" y="27915"/>
                        <a:pt x="27064" y="31232"/>
                        <a:pt x="15200" y="31232"/>
                      </a:cubicBezTo>
                      <a:cubicBezTo>
                        <a:pt x="2506" y="31232"/>
                        <a:pt x="-2182" y="25891"/>
                        <a:pt x="929" y="17232"/>
                      </a:cubicBezTo>
                      <a:lnTo>
                        <a:pt x="7152" y="0"/>
                      </a:lnTo>
                      <a:lnTo>
                        <a:pt x="21630" y="0"/>
                      </a:lnTo>
                      <a:lnTo>
                        <a:pt x="15282" y="17749"/>
                      </a:lnTo>
                      <a:cubicBezTo>
                        <a:pt x="14163" y="20807"/>
                        <a:pt x="15200" y="22100"/>
                        <a:pt x="17564" y="22100"/>
                      </a:cubicBezTo>
                      <a:cubicBezTo>
                        <a:pt x="19514" y="22100"/>
                        <a:pt x="21007" y="21324"/>
                        <a:pt x="22293" y="17792"/>
                      </a:cubicBezTo>
                      <a:lnTo>
                        <a:pt x="28641" y="0"/>
                      </a:lnTo>
                      <a:lnTo>
                        <a:pt x="43118" y="0"/>
                      </a:lnTo>
                      <a:lnTo>
                        <a:pt x="36937" y="17318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7" name="Freeform: Shape 406">
                  <a:extLst>
                    <a:ext uri="{FF2B5EF4-FFF2-40B4-BE49-F238E27FC236}">
                      <a16:creationId xmlns:a16="http://schemas.microsoft.com/office/drawing/2014/main" id="{8E3F8514-36A7-4133-B9FD-E89FFA7F3243}"/>
                    </a:ext>
                  </a:extLst>
                </p:cNvPr>
                <p:cNvSpPr/>
                <p:nvPr/>
              </p:nvSpPr>
              <p:spPr>
                <a:xfrm>
                  <a:off x="5914454" y="2773509"/>
                  <a:ext cx="42592" cy="30370"/>
                </a:xfrm>
                <a:custGeom>
                  <a:avLst/>
                  <a:gdLst>
                    <a:gd name="connsiteX0" fmla="*/ 18834 w 42592"/>
                    <a:gd name="connsiteY0" fmla="*/ 22358 h 30370"/>
                    <a:gd name="connsiteX1" fmla="*/ 17340 w 42592"/>
                    <a:gd name="connsiteY1" fmla="*/ 22358 h 30370"/>
                    <a:gd name="connsiteX2" fmla="*/ 14478 w 42592"/>
                    <a:gd name="connsiteY2" fmla="*/ 30371 h 30370"/>
                    <a:gd name="connsiteX3" fmla="*/ 0 w 42592"/>
                    <a:gd name="connsiteY3" fmla="*/ 30371 h 30370"/>
                    <a:gd name="connsiteX4" fmla="*/ 10869 w 42592"/>
                    <a:gd name="connsiteY4" fmla="*/ 0 h 30370"/>
                    <a:gd name="connsiteX5" fmla="*/ 28665 w 42592"/>
                    <a:gd name="connsiteY5" fmla="*/ 0 h 30370"/>
                    <a:gd name="connsiteX6" fmla="*/ 41691 w 42592"/>
                    <a:gd name="connsiteY6" fmla="*/ 12881 h 30370"/>
                    <a:gd name="connsiteX7" fmla="*/ 31943 w 42592"/>
                    <a:gd name="connsiteY7" fmla="*/ 20161 h 30370"/>
                    <a:gd name="connsiteX8" fmla="*/ 36589 w 42592"/>
                    <a:gd name="connsiteY8" fmla="*/ 30371 h 30370"/>
                    <a:gd name="connsiteX9" fmla="*/ 21696 w 42592"/>
                    <a:gd name="connsiteY9" fmla="*/ 30371 h 30370"/>
                    <a:gd name="connsiteX10" fmla="*/ 18834 w 42592"/>
                    <a:gd name="connsiteY10" fmla="*/ 22358 h 30370"/>
                    <a:gd name="connsiteX11" fmla="*/ 22401 w 42592"/>
                    <a:gd name="connsiteY11" fmla="*/ 8271 h 30370"/>
                    <a:gd name="connsiteX12" fmla="*/ 20286 w 42592"/>
                    <a:gd name="connsiteY12" fmla="*/ 14087 h 30370"/>
                    <a:gd name="connsiteX13" fmla="*/ 22070 w 42592"/>
                    <a:gd name="connsiteY13" fmla="*/ 14087 h 30370"/>
                    <a:gd name="connsiteX14" fmla="*/ 27421 w 42592"/>
                    <a:gd name="connsiteY14" fmla="*/ 11416 h 30370"/>
                    <a:gd name="connsiteX15" fmla="*/ 24642 w 42592"/>
                    <a:gd name="connsiteY15" fmla="*/ 8271 h 30370"/>
                    <a:gd name="connsiteX16" fmla="*/ 22401 w 42592"/>
                    <a:gd name="connsiteY16" fmla="*/ 82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2592" h="30370">
                      <a:moveTo>
                        <a:pt x="18834" y="22358"/>
                      </a:moveTo>
                      <a:lnTo>
                        <a:pt x="17340" y="22358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8665" y="0"/>
                      </a:lnTo>
                      <a:cubicBezTo>
                        <a:pt x="40861" y="0"/>
                        <a:pt x="44512" y="4868"/>
                        <a:pt x="41691" y="12881"/>
                      </a:cubicBezTo>
                      <a:cubicBezTo>
                        <a:pt x="40073" y="17447"/>
                        <a:pt x="36921" y="19386"/>
                        <a:pt x="31943" y="20161"/>
                      </a:cubicBezTo>
                      <a:lnTo>
                        <a:pt x="36589" y="30371"/>
                      </a:lnTo>
                      <a:lnTo>
                        <a:pt x="21696" y="30371"/>
                      </a:lnTo>
                      <a:lnTo>
                        <a:pt x="18834" y="22358"/>
                      </a:lnTo>
                      <a:close/>
                      <a:moveTo>
                        <a:pt x="22401" y="8271"/>
                      </a:moveTo>
                      <a:lnTo>
                        <a:pt x="20286" y="14087"/>
                      </a:lnTo>
                      <a:lnTo>
                        <a:pt x="22070" y="14087"/>
                      </a:lnTo>
                      <a:cubicBezTo>
                        <a:pt x="25222" y="14087"/>
                        <a:pt x="26508" y="13958"/>
                        <a:pt x="27421" y="11416"/>
                      </a:cubicBezTo>
                      <a:cubicBezTo>
                        <a:pt x="28085" y="9650"/>
                        <a:pt x="27918" y="8271"/>
                        <a:pt x="24642" y="8271"/>
                      </a:cubicBezTo>
                      <a:lnTo>
                        <a:pt x="22401" y="82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8" name="Freeform: Shape 407">
                  <a:extLst>
                    <a:ext uri="{FF2B5EF4-FFF2-40B4-BE49-F238E27FC236}">
                      <a16:creationId xmlns:a16="http://schemas.microsoft.com/office/drawing/2014/main" id="{9CCE90F6-538B-4071-B3AB-776BDCA89E85}"/>
                    </a:ext>
                  </a:extLst>
                </p:cNvPr>
                <p:cNvSpPr/>
                <p:nvPr/>
              </p:nvSpPr>
              <p:spPr>
                <a:xfrm>
                  <a:off x="5954361" y="2773509"/>
                  <a:ext cx="41317" cy="30413"/>
                </a:xfrm>
                <a:custGeom>
                  <a:avLst/>
                  <a:gdLst>
                    <a:gd name="connsiteX0" fmla="*/ 10869 w 41317"/>
                    <a:gd name="connsiteY0" fmla="*/ 0 h 30413"/>
                    <a:gd name="connsiteX1" fmla="*/ 41318 w 41317"/>
                    <a:gd name="connsiteY1" fmla="*/ 0 h 30413"/>
                    <a:gd name="connsiteX2" fmla="*/ 38372 w 41317"/>
                    <a:gd name="connsiteY2" fmla="*/ 8271 h 30413"/>
                    <a:gd name="connsiteX3" fmla="*/ 22360 w 41317"/>
                    <a:gd name="connsiteY3" fmla="*/ 8271 h 30413"/>
                    <a:gd name="connsiteX4" fmla="*/ 21364 w 41317"/>
                    <a:gd name="connsiteY4" fmla="*/ 11028 h 30413"/>
                    <a:gd name="connsiteX5" fmla="*/ 35800 w 41317"/>
                    <a:gd name="connsiteY5" fmla="*/ 11028 h 30413"/>
                    <a:gd name="connsiteX6" fmla="*/ 32772 w 41317"/>
                    <a:gd name="connsiteY6" fmla="*/ 19299 h 30413"/>
                    <a:gd name="connsiteX7" fmla="*/ 18419 w 41317"/>
                    <a:gd name="connsiteY7" fmla="*/ 19299 h 30413"/>
                    <a:gd name="connsiteX8" fmla="*/ 17382 w 41317"/>
                    <a:gd name="connsiteY8" fmla="*/ 22143 h 30413"/>
                    <a:gd name="connsiteX9" fmla="*/ 33395 w 41317"/>
                    <a:gd name="connsiteY9" fmla="*/ 22143 h 30413"/>
                    <a:gd name="connsiteX10" fmla="*/ 30449 w 41317"/>
                    <a:gd name="connsiteY10" fmla="*/ 30414 h 30413"/>
                    <a:gd name="connsiteX11" fmla="*/ 0 w 41317"/>
                    <a:gd name="connsiteY11" fmla="*/ 30414 h 30413"/>
                    <a:gd name="connsiteX12" fmla="*/ 10869 w 41317"/>
                    <a:gd name="connsiteY12" fmla="*/ 0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317" h="30413">
                      <a:moveTo>
                        <a:pt x="10869" y="0"/>
                      </a:moveTo>
                      <a:lnTo>
                        <a:pt x="41318" y="0"/>
                      </a:lnTo>
                      <a:lnTo>
                        <a:pt x="38372" y="8271"/>
                      </a:lnTo>
                      <a:lnTo>
                        <a:pt x="22360" y="8271"/>
                      </a:lnTo>
                      <a:lnTo>
                        <a:pt x="21364" y="11028"/>
                      </a:lnTo>
                      <a:lnTo>
                        <a:pt x="35800" y="11028"/>
                      </a:lnTo>
                      <a:lnTo>
                        <a:pt x="32772" y="19299"/>
                      </a:lnTo>
                      <a:lnTo>
                        <a:pt x="18419" y="19299"/>
                      </a:lnTo>
                      <a:lnTo>
                        <a:pt x="17382" y="22143"/>
                      </a:lnTo>
                      <a:lnTo>
                        <a:pt x="33395" y="22143"/>
                      </a:lnTo>
                      <a:lnTo>
                        <a:pt x="30449" y="30414"/>
                      </a:lnTo>
                      <a:lnTo>
                        <a:pt x="0" y="30414"/>
                      </a:lnTo>
                      <a:lnTo>
                        <a:pt x="10869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09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6096401" y="2773466"/>
                <a:ext cx="200656" cy="30457"/>
                <a:chOff x="6096401" y="2773466"/>
                <a:chExt cx="200656" cy="30457"/>
              </a:xfrm>
              <a:solidFill>
                <a:srgbClr val="27509B"/>
              </a:solidFill>
            </p:grpSpPr>
            <p:sp>
              <p:nvSpPr>
                <p:cNvPr id="410" name="Freeform: Shape 409">
                  <a:extLst>
                    <a:ext uri="{FF2B5EF4-FFF2-40B4-BE49-F238E27FC236}">
                      <a16:creationId xmlns:a16="http://schemas.microsoft.com/office/drawing/2014/main" id="{136F9013-C7AB-41D3-8673-484E78A68A37}"/>
                    </a:ext>
                  </a:extLst>
                </p:cNvPr>
                <p:cNvSpPr/>
                <p:nvPr/>
              </p:nvSpPr>
              <p:spPr>
                <a:xfrm>
                  <a:off x="6096401" y="2773509"/>
                  <a:ext cx="31569" cy="30370"/>
                </a:xfrm>
                <a:custGeom>
                  <a:avLst/>
                  <a:gdLst>
                    <a:gd name="connsiteX0" fmla="*/ 10827 w 31569"/>
                    <a:gd name="connsiteY0" fmla="*/ 0 h 30370"/>
                    <a:gd name="connsiteX1" fmla="*/ 25305 w 31569"/>
                    <a:gd name="connsiteY1" fmla="*/ 0 h 30370"/>
                    <a:gd name="connsiteX2" fmla="*/ 17714 w 31569"/>
                    <a:gd name="connsiteY2" fmla="*/ 21281 h 30370"/>
                    <a:gd name="connsiteX3" fmla="*/ 31569 w 31569"/>
                    <a:gd name="connsiteY3" fmla="*/ 21281 h 30370"/>
                    <a:gd name="connsiteX4" fmla="*/ 28292 w 31569"/>
                    <a:gd name="connsiteY4" fmla="*/ 30371 h 30370"/>
                    <a:gd name="connsiteX5" fmla="*/ 0 w 31569"/>
                    <a:gd name="connsiteY5" fmla="*/ 30371 h 30370"/>
                    <a:gd name="connsiteX6" fmla="*/ 10827 w 31569"/>
                    <a:gd name="connsiteY6" fmla="*/ 0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569" h="30370">
                      <a:moveTo>
                        <a:pt x="10827" y="0"/>
                      </a:moveTo>
                      <a:lnTo>
                        <a:pt x="25305" y="0"/>
                      </a:lnTo>
                      <a:lnTo>
                        <a:pt x="17714" y="21281"/>
                      </a:lnTo>
                      <a:lnTo>
                        <a:pt x="31569" y="21281"/>
                      </a:lnTo>
                      <a:lnTo>
                        <a:pt x="28292" y="30371"/>
                      </a:lnTo>
                      <a:lnTo>
                        <a:pt x="0" y="30371"/>
                      </a:lnTo>
                      <a:lnTo>
                        <a:pt x="10827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1" name="Freeform: Shape 410">
                  <a:extLst>
                    <a:ext uri="{FF2B5EF4-FFF2-40B4-BE49-F238E27FC236}">
                      <a16:creationId xmlns:a16="http://schemas.microsoft.com/office/drawing/2014/main" id="{1D3EA671-50DC-4AF7-B497-901FA928202D}"/>
                    </a:ext>
                  </a:extLst>
                </p:cNvPr>
                <p:cNvSpPr/>
                <p:nvPr/>
              </p:nvSpPr>
              <p:spPr>
                <a:xfrm>
                  <a:off x="6128842" y="2773509"/>
                  <a:ext cx="41317" cy="30413"/>
                </a:xfrm>
                <a:custGeom>
                  <a:avLst/>
                  <a:gdLst>
                    <a:gd name="connsiteX0" fmla="*/ 10869 w 41317"/>
                    <a:gd name="connsiteY0" fmla="*/ 0 h 30413"/>
                    <a:gd name="connsiteX1" fmla="*/ 41318 w 41317"/>
                    <a:gd name="connsiteY1" fmla="*/ 0 h 30413"/>
                    <a:gd name="connsiteX2" fmla="*/ 38372 w 41317"/>
                    <a:gd name="connsiteY2" fmla="*/ 8271 h 30413"/>
                    <a:gd name="connsiteX3" fmla="*/ 22360 w 41317"/>
                    <a:gd name="connsiteY3" fmla="*/ 8271 h 30413"/>
                    <a:gd name="connsiteX4" fmla="*/ 21364 w 41317"/>
                    <a:gd name="connsiteY4" fmla="*/ 11028 h 30413"/>
                    <a:gd name="connsiteX5" fmla="*/ 35800 w 41317"/>
                    <a:gd name="connsiteY5" fmla="*/ 11028 h 30413"/>
                    <a:gd name="connsiteX6" fmla="*/ 32772 w 41317"/>
                    <a:gd name="connsiteY6" fmla="*/ 19299 h 30413"/>
                    <a:gd name="connsiteX7" fmla="*/ 18419 w 41317"/>
                    <a:gd name="connsiteY7" fmla="*/ 19299 h 30413"/>
                    <a:gd name="connsiteX8" fmla="*/ 17381 w 41317"/>
                    <a:gd name="connsiteY8" fmla="*/ 22143 h 30413"/>
                    <a:gd name="connsiteX9" fmla="*/ 33394 w 41317"/>
                    <a:gd name="connsiteY9" fmla="*/ 22143 h 30413"/>
                    <a:gd name="connsiteX10" fmla="*/ 30449 w 41317"/>
                    <a:gd name="connsiteY10" fmla="*/ 30414 h 30413"/>
                    <a:gd name="connsiteX11" fmla="*/ 0 w 41317"/>
                    <a:gd name="connsiteY11" fmla="*/ 30414 h 30413"/>
                    <a:gd name="connsiteX12" fmla="*/ 10869 w 41317"/>
                    <a:gd name="connsiteY12" fmla="*/ 0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317" h="30413">
                      <a:moveTo>
                        <a:pt x="10869" y="0"/>
                      </a:moveTo>
                      <a:lnTo>
                        <a:pt x="41318" y="0"/>
                      </a:lnTo>
                      <a:lnTo>
                        <a:pt x="38372" y="8271"/>
                      </a:lnTo>
                      <a:lnTo>
                        <a:pt x="22360" y="8271"/>
                      </a:lnTo>
                      <a:lnTo>
                        <a:pt x="21364" y="11028"/>
                      </a:lnTo>
                      <a:lnTo>
                        <a:pt x="35800" y="11028"/>
                      </a:lnTo>
                      <a:lnTo>
                        <a:pt x="32772" y="19299"/>
                      </a:lnTo>
                      <a:lnTo>
                        <a:pt x="18419" y="19299"/>
                      </a:lnTo>
                      <a:lnTo>
                        <a:pt x="17381" y="22143"/>
                      </a:lnTo>
                      <a:lnTo>
                        <a:pt x="33394" y="22143"/>
                      </a:lnTo>
                      <a:lnTo>
                        <a:pt x="30449" y="30414"/>
                      </a:lnTo>
                      <a:lnTo>
                        <a:pt x="0" y="30414"/>
                      </a:lnTo>
                      <a:lnTo>
                        <a:pt x="10869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2" name="Freeform: Shape 411">
                  <a:extLst>
                    <a:ext uri="{FF2B5EF4-FFF2-40B4-BE49-F238E27FC236}">
                      <a16:creationId xmlns:a16="http://schemas.microsoft.com/office/drawing/2014/main" id="{324E4EE0-63D4-4D43-90CC-CC2C78CF01A3}"/>
                    </a:ext>
                  </a:extLst>
                </p:cNvPr>
                <p:cNvSpPr/>
                <p:nvPr/>
              </p:nvSpPr>
              <p:spPr>
                <a:xfrm>
                  <a:off x="6162194" y="2773509"/>
                  <a:ext cx="42438" cy="30370"/>
                </a:xfrm>
                <a:custGeom>
                  <a:avLst/>
                  <a:gdLst>
                    <a:gd name="connsiteX0" fmla="*/ 28375 w 42438"/>
                    <a:gd name="connsiteY0" fmla="*/ 26063 h 30370"/>
                    <a:gd name="connsiteX1" fmla="*/ 17507 w 42438"/>
                    <a:gd name="connsiteY1" fmla="*/ 26063 h 30370"/>
                    <a:gd name="connsiteX2" fmla="*/ 14851 w 42438"/>
                    <a:gd name="connsiteY2" fmla="*/ 30371 h 30370"/>
                    <a:gd name="connsiteX3" fmla="*/ 0 w 42438"/>
                    <a:gd name="connsiteY3" fmla="*/ 30371 h 30370"/>
                    <a:gd name="connsiteX4" fmla="*/ 17382 w 42438"/>
                    <a:gd name="connsiteY4" fmla="*/ 4696 h 30370"/>
                    <a:gd name="connsiteX5" fmla="*/ 25430 w 42438"/>
                    <a:gd name="connsiteY5" fmla="*/ 0 h 30370"/>
                    <a:gd name="connsiteX6" fmla="*/ 42438 w 42438"/>
                    <a:gd name="connsiteY6" fmla="*/ 0 h 30370"/>
                    <a:gd name="connsiteX7" fmla="*/ 41608 w 42438"/>
                    <a:gd name="connsiteY7" fmla="*/ 30371 h 30370"/>
                    <a:gd name="connsiteX8" fmla="*/ 28126 w 42438"/>
                    <a:gd name="connsiteY8" fmla="*/ 30371 h 30370"/>
                    <a:gd name="connsiteX9" fmla="*/ 28375 w 42438"/>
                    <a:gd name="connsiteY9" fmla="*/ 26063 h 30370"/>
                    <a:gd name="connsiteX10" fmla="*/ 29412 w 42438"/>
                    <a:gd name="connsiteY10" fmla="*/ 6979 h 30370"/>
                    <a:gd name="connsiteX11" fmla="*/ 22941 w 42438"/>
                    <a:gd name="connsiteY11" fmla="*/ 17404 h 30370"/>
                    <a:gd name="connsiteX12" fmla="*/ 28831 w 42438"/>
                    <a:gd name="connsiteY12" fmla="*/ 17404 h 30370"/>
                    <a:gd name="connsiteX13" fmla="*/ 29412 w 42438"/>
                    <a:gd name="connsiteY13" fmla="*/ 6979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2438" h="30370">
                      <a:moveTo>
                        <a:pt x="28375" y="26063"/>
                      </a:moveTo>
                      <a:lnTo>
                        <a:pt x="17507" y="26063"/>
                      </a:lnTo>
                      <a:lnTo>
                        <a:pt x="14851" y="30371"/>
                      </a:lnTo>
                      <a:lnTo>
                        <a:pt x="0" y="30371"/>
                      </a:lnTo>
                      <a:lnTo>
                        <a:pt x="17382" y="4696"/>
                      </a:lnTo>
                      <a:cubicBezTo>
                        <a:pt x="19663" y="1335"/>
                        <a:pt x="21904" y="0"/>
                        <a:pt x="25430" y="0"/>
                      </a:cubicBezTo>
                      <a:lnTo>
                        <a:pt x="42438" y="0"/>
                      </a:lnTo>
                      <a:lnTo>
                        <a:pt x="41608" y="30371"/>
                      </a:lnTo>
                      <a:lnTo>
                        <a:pt x="28126" y="30371"/>
                      </a:lnTo>
                      <a:lnTo>
                        <a:pt x="28375" y="26063"/>
                      </a:lnTo>
                      <a:close/>
                      <a:moveTo>
                        <a:pt x="29412" y="6979"/>
                      </a:moveTo>
                      <a:lnTo>
                        <a:pt x="22941" y="17404"/>
                      </a:lnTo>
                      <a:lnTo>
                        <a:pt x="28831" y="17404"/>
                      </a:lnTo>
                      <a:lnTo>
                        <a:pt x="29412" y="6979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3" name="Freeform: Shape 412">
                  <a:extLst>
                    <a:ext uri="{FF2B5EF4-FFF2-40B4-BE49-F238E27FC236}">
                      <a16:creationId xmlns:a16="http://schemas.microsoft.com/office/drawing/2014/main" id="{30D9A5D4-35BC-4368-A3CB-DDB3B7F75933}"/>
                    </a:ext>
                  </a:extLst>
                </p:cNvPr>
                <p:cNvSpPr/>
                <p:nvPr/>
              </p:nvSpPr>
              <p:spPr>
                <a:xfrm>
                  <a:off x="6206665" y="2773509"/>
                  <a:ext cx="42597" cy="30370"/>
                </a:xfrm>
                <a:custGeom>
                  <a:avLst/>
                  <a:gdLst>
                    <a:gd name="connsiteX0" fmla="*/ 18833 w 42597"/>
                    <a:gd name="connsiteY0" fmla="*/ 22358 h 30370"/>
                    <a:gd name="connsiteX1" fmla="*/ 17340 w 42597"/>
                    <a:gd name="connsiteY1" fmla="*/ 22358 h 30370"/>
                    <a:gd name="connsiteX2" fmla="*/ 14478 w 42597"/>
                    <a:gd name="connsiteY2" fmla="*/ 30371 h 30370"/>
                    <a:gd name="connsiteX3" fmla="*/ 0 w 42597"/>
                    <a:gd name="connsiteY3" fmla="*/ 30371 h 30370"/>
                    <a:gd name="connsiteX4" fmla="*/ 10869 w 42597"/>
                    <a:gd name="connsiteY4" fmla="*/ 0 h 30370"/>
                    <a:gd name="connsiteX5" fmla="*/ 28665 w 42597"/>
                    <a:gd name="connsiteY5" fmla="*/ 0 h 30370"/>
                    <a:gd name="connsiteX6" fmla="*/ 41691 w 42597"/>
                    <a:gd name="connsiteY6" fmla="*/ 12881 h 30370"/>
                    <a:gd name="connsiteX7" fmla="*/ 31942 w 42597"/>
                    <a:gd name="connsiteY7" fmla="*/ 20161 h 30370"/>
                    <a:gd name="connsiteX8" fmla="*/ 36588 w 42597"/>
                    <a:gd name="connsiteY8" fmla="*/ 30371 h 30370"/>
                    <a:gd name="connsiteX9" fmla="*/ 21696 w 42597"/>
                    <a:gd name="connsiteY9" fmla="*/ 30371 h 30370"/>
                    <a:gd name="connsiteX10" fmla="*/ 18833 w 42597"/>
                    <a:gd name="connsiteY10" fmla="*/ 22358 h 30370"/>
                    <a:gd name="connsiteX11" fmla="*/ 22401 w 42597"/>
                    <a:gd name="connsiteY11" fmla="*/ 8271 h 30370"/>
                    <a:gd name="connsiteX12" fmla="*/ 20285 w 42597"/>
                    <a:gd name="connsiteY12" fmla="*/ 14087 h 30370"/>
                    <a:gd name="connsiteX13" fmla="*/ 22069 w 42597"/>
                    <a:gd name="connsiteY13" fmla="*/ 14087 h 30370"/>
                    <a:gd name="connsiteX14" fmla="*/ 27421 w 42597"/>
                    <a:gd name="connsiteY14" fmla="*/ 11416 h 30370"/>
                    <a:gd name="connsiteX15" fmla="*/ 24641 w 42597"/>
                    <a:gd name="connsiteY15" fmla="*/ 8271 h 30370"/>
                    <a:gd name="connsiteX16" fmla="*/ 22401 w 42597"/>
                    <a:gd name="connsiteY16" fmla="*/ 82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2597" h="30370">
                      <a:moveTo>
                        <a:pt x="18833" y="22358"/>
                      </a:moveTo>
                      <a:lnTo>
                        <a:pt x="17340" y="22358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8665" y="0"/>
                      </a:lnTo>
                      <a:cubicBezTo>
                        <a:pt x="40903" y="0"/>
                        <a:pt x="44512" y="4825"/>
                        <a:pt x="41691" y="12881"/>
                      </a:cubicBezTo>
                      <a:cubicBezTo>
                        <a:pt x="40073" y="17447"/>
                        <a:pt x="36920" y="19386"/>
                        <a:pt x="31942" y="20161"/>
                      </a:cubicBezTo>
                      <a:lnTo>
                        <a:pt x="36588" y="30371"/>
                      </a:lnTo>
                      <a:lnTo>
                        <a:pt x="21696" y="30371"/>
                      </a:lnTo>
                      <a:lnTo>
                        <a:pt x="18833" y="22358"/>
                      </a:lnTo>
                      <a:close/>
                      <a:moveTo>
                        <a:pt x="22401" y="8271"/>
                      </a:moveTo>
                      <a:lnTo>
                        <a:pt x="20285" y="14087"/>
                      </a:lnTo>
                      <a:lnTo>
                        <a:pt x="22069" y="14087"/>
                      </a:lnTo>
                      <a:cubicBezTo>
                        <a:pt x="25222" y="14087"/>
                        <a:pt x="26508" y="13958"/>
                        <a:pt x="27421" y="11416"/>
                      </a:cubicBezTo>
                      <a:cubicBezTo>
                        <a:pt x="28084" y="9650"/>
                        <a:pt x="27918" y="8271"/>
                        <a:pt x="24641" y="8271"/>
                      </a:cubicBezTo>
                      <a:lnTo>
                        <a:pt x="22401" y="82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4" name="Freeform: Shape 413">
                  <a:extLst>
                    <a:ext uri="{FF2B5EF4-FFF2-40B4-BE49-F238E27FC236}">
                      <a16:creationId xmlns:a16="http://schemas.microsoft.com/office/drawing/2014/main" id="{7407E2D7-7878-491E-B645-CAE3FAE470FF}"/>
                    </a:ext>
                  </a:extLst>
                </p:cNvPr>
                <p:cNvSpPr/>
                <p:nvPr/>
              </p:nvSpPr>
              <p:spPr>
                <a:xfrm>
                  <a:off x="6246573" y="2773466"/>
                  <a:ext cx="50485" cy="30413"/>
                </a:xfrm>
                <a:custGeom>
                  <a:avLst/>
                  <a:gdLst>
                    <a:gd name="connsiteX0" fmla="*/ 19705 w 50485"/>
                    <a:gd name="connsiteY0" fmla="*/ 9994 h 30413"/>
                    <a:gd name="connsiteX1" fmla="*/ 12404 w 50485"/>
                    <a:gd name="connsiteY1" fmla="*/ 30414 h 30413"/>
                    <a:gd name="connsiteX2" fmla="*/ 0 w 50485"/>
                    <a:gd name="connsiteY2" fmla="*/ 30414 h 30413"/>
                    <a:gd name="connsiteX3" fmla="*/ 10869 w 50485"/>
                    <a:gd name="connsiteY3" fmla="*/ 43 h 30413"/>
                    <a:gd name="connsiteX4" fmla="*/ 26923 w 50485"/>
                    <a:gd name="connsiteY4" fmla="*/ 43 h 30413"/>
                    <a:gd name="connsiteX5" fmla="*/ 31403 w 50485"/>
                    <a:gd name="connsiteY5" fmla="*/ 5686 h 30413"/>
                    <a:gd name="connsiteX6" fmla="*/ 30698 w 50485"/>
                    <a:gd name="connsiteY6" fmla="*/ 20807 h 30413"/>
                    <a:gd name="connsiteX7" fmla="*/ 38123 w 50485"/>
                    <a:gd name="connsiteY7" fmla="*/ 0 h 30413"/>
                    <a:gd name="connsiteX8" fmla="*/ 50485 w 50485"/>
                    <a:gd name="connsiteY8" fmla="*/ 0 h 30413"/>
                    <a:gd name="connsiteX9" fmla="*/ 39617 w 50485"/>
                    <a:gd name="connsiteY9" fmla="*/ 30371 h 30413"/>
                    <a:gd name="connsiteX10" fmla="*/ 18792 w 50485"/>
                    <a:gd name="connsiteY10" fmla="*/ 30371 h 30413"/>
                    <a:gd name="connsiteX11" fmla="*/ 19705 w 50485"/>
                    <a:gd name="connsiteY11" fmla="*/ 9994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0485" h="30413">
                      <a:moveTo>
                        <a:pt x="19705" y="9994"/>
                      </a:moveTo>
                      <a:lnTo>
                        <a:pt x="12404" y="30414"/>
                      </a:lnTo>
                      <a:lnTo>
                        <a:pt x="0" y="30414"/>
                      </a:lnTo>
                      <a:lnTo>
                        <a:pt x="10869" y="43"/>
                      </a:lnTo>
                      <a:lnTo>
                        <a:pt x="26923" y="43"/>
                      </a:lnTo>
                      <a:cubicBezTo>
                        <a:pt x="30490" y="43"/>
                        <a:pt x="31569" y="2326"/>
                        <a:pt x="31403" y="5686"/>
                      </a:cubicBezTo>
                      <a:lnTo>
                        <a:pt x="30698" y="20807"/>
                      </a:lnTo>
                      <a:lnTo>
                        <a:pt x="38123" y="0"/>
                      </a:lnTo>
                      <a:lnTo>
                        <a:pt x="50485" y="0"/>
                      </a:lnTo>
                      <a:lnTo>
                        <a:pt x="39617" y="30371"/>
                      </a:lnTo>
                      <a:lnTo>
                        <a:pt x="18792" y="30371"/>
                      </a:lnTo>
                      <a:lnTo>
                        <a:pt x="19705" y="9994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15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4975843" y="2772691"/>
                <a:ext cx="365886" cy="32050"/>
                <a:chOff x="4975843" y="2772691"/>
                <a:chExt cx="365886" cy="32050"/>
              </a:xfrm>
              <a:solidFill>
                <a:srgbClr val="27509B"/>
              </a:solidFill>
            </p:grpSpPr>
            <p:sp>
              <p:nvSpPr>
                <p:cNvPr id="416" name="Freeform: Shape 415">
                  <a:extLst>
                    <a:ext uri="{FF2B5EF4-FFF2-40B4-BE49-F238E27FC236}">
                      <a16:creationId xmlns:a16="http://schemas.microsoft.com/office/drawing/2014/main" id="{787D804B-20EB-477E-AF3E-7BE61102C413}"/>
                    </a:ext>
                  </a:extLst>
                </p:cNvPr>
                <p:cNvSpPr/>
                <p:nvPr/>
              </p:nvSpPr>
              <p:spPr>
                <a:xfrm>
                  <a:off x="4975843" y="2773509"/>
                  <a:ext cx="46835" cy="30370"/>
                </a:xfrm>
                <a:custGeom>
                  <a:avLst/>
                  <a:gdLst>
                    <a:gd name="connsiteX0" fmla="*/ 25305 w 46835"/>
                    <a:gd name="connsiteY0" fmla="*/ 19730 h 30370"/>
                    <a:gd name="connsiteX1" fmla="*/ 18294 w 46835"/>
                    <a:gd name="connsiteY1" fmla="*/ 19730 h 30370"/>
                    <a:gd name="connsiteX2" fmla="*/ 14478 w 46835"/>
                    <a:gd name="connsiteY2" fmla="*/ 30371 h 30370"/>
                    <a:gd name="connsiteX3" fmla="*/ 0 w 46835"/>
                    <a:gd name="connsiteY3" fmla="*/ 30371 h 30370"/>
                    <a:gd name="connsiteX4" fmla="*/ 10869 w 46835"/>
                    <a:gd name="connsiteY4" fmla="*/ 0 h 30370"/>
                    <a:gd name="connsiteX5" fmla="*/ 25346 w 46835"/>
                    <a:gd name="connsiteY5" fmla="*/ 0 h 30370"/>
                    <a:gd name="connsiteX6" fmla="*/ 21530 w 46835"/>
                    <a:gd name="connsiteY6" fmla="*/ 10641 h 30370"/>
                    <a:gd name="connsiteX7" fmla="*/ 28541 w 46835"/>
                    <a:gd name="connsiteY7" fmla="*/ 10641 h 30370"/>
                    <a:gd name="connsiteX8" fmla="*/ 32357 w 46835"/>
                    <a:gd name="connsiteY8" fmla="*/ 0 h 30370"/>
                    <a:gd name="connsiteX9" fmla="*/ 46835 w 46835"/>
                    <a:gd name="connsiteY9" fmla="*/ 0 h 30370"/>
                    <a:gd name="connsiteX10" fmla="*/ 35967 w 46835"/>
                    <a:gd name="connsiteY10" fmla="*/ 30371 h 30370"/>
                    <a:gd name="connsiteX11" fmla="*/ 21489 w 46835"/>
                    <a:gd name="connsiteY11" fmla="*/ 30371 h 30370"/>
                    <a:gd name="connsiteX12" fmla="*/ 25305 w 46835"/>
                    <a:gd name="connsiteY12" fmla="*/ 19730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6835" h="30370">
                      <a:moveTo>
                        <a:pt x="25305" y="19730"/>
                      </a:moveTo>
                      <a:lnTo>
                        <a:pt x="18294" y="19730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5346" y="0"/>
                      </a:lnTo>
                      <a:lnTo>
                        <a:pt x="21530" y="10641"/>
                      </a:lnTo>
                      <a:lnTo>
                        <a:pt x="28541" y="10641"/>
                      </a:lnTo>
                      <a:lnTo>
                        <a:pt x="32357" y="0"/>
                      </a:lnTo>
                      <a:lnTo>
                        <a:pt x="46835" y="0"/>
                      </a:lnTo>
                      <a:lnTo>
                        <a:pt x="35967" y="30371"/>
                      </a:lnTo>
                      <a:lnTo>
                        <a:pt x="21489" y="30371"/>
                      </a:lnTo>
                      <a:lnTo>
                        <a:pt x="25305" y="1973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7" name="Freeform: Shape 416">
                  <a:extLst>
                    <a:ext uri="{FF2B5EF4-FFF2-40B4-BE49-F238E27FC236}">
                      <a16:creationId xmlns:a16="http://schemas.microsoft.com/office/drawing/2014/main" id="{6027BE38-7B65-4624-BD84-61394F9F41DF}"/>
                    </a:ext>
                  </a:extLst>
                </p:cNvPr>
                <p:cNvSpPr/>
                <p:nvPr/>
              </p:nvSpPr>
              <p:spPr>
                <a:xfrm>
                  <a:off x="5025582" y="2773509"/>
                  <a:ext cx="41566" cy="30370"/>
                </a:xfrm>
                <a:custGeom>
                  <a:avLst/>
                  <a:gdLst>
                    <a:gd name="connsiteX0" fmla="*/ 2489 w 41566"/>
                    <a:gd name="connsiteY0" fmla="*/ 30371 h 30370"/>
                    <a:gd name="connsiteX1" fmla="*/ 6223 w 41566"/>
                    <a:gd name="connsiteY1" fmla="*/ 19903 h 30370"/>
                    <a:gd name="connsiteX2" fmla="*/ 0 w 41566"/>
                    <a:gd name="connsiteY2" fmla="*/ 0 h 30370"/>
                    <a:gd name="connsiteX3" fmla="*/ 13441 w 41566"/>
                    <a:gd name="connsiteY3" fmla="*/ 0 h 30370"/>
                    <a:gd name="connsiteX4" fmla="*/ 16220 w 41566"/>
                    <a:gd name="connsiteY4" fmla="*/ 10167 h 30370"/>
                    <a:gd name="connsiteX5" fmla="*/ 25471 w 41566"/>
                    <a:gd name="connsiteY5" fmla="*/ 0 h 30370"/>
                    <a:gd name="connsiteX6" fmla="*/ 41567 w 41566"/>
                    <a:gd name="connsiteY6" fmla="*/ 0 h 30370"/>
                    <a:gd name="connsiteX7" fmla="*/ 20286 w 41566"/>
                    <a:gd name="connsiteY7" fmla="*/ 20936 h 30370"/>
                    <a:gd name="connsiteX8" fmla="*/ 16926 w 41566"/>
                    <a:gd name="connsiteY8" fmla="*/ 30371 h 30370"/>
                    <a:gd name="connsiteX9" fmla="*/ 2489 w 41566"/>
                    <a:gd name="connsiteY9" fmla="*/ 303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1566" h="30370">
                      <a:moveTo>
                        <a:pt x="2489" y="30371"/>
                      </a:moveTo>
                      <a:lnTo>
                        <a:pt x="6223" y="19903"/>
                      </a:lnTo>
                      <a:lnTo>
                        <a:pt x="0" y="0"/>
                      </a:lnTo>
                      <a:lnTo>
                        <a:pt x="13441" y="0"/>
                      </a:lnTo>
                      <a:lnTo>
                        <a:pt x="16220" y="10167"/>
                      </a:lnTo>
                      <a:lnTo>
                        <a:pt x="25471" y="0"/>
                      </a:lnTo>
                      <a:lnTo>
                        <a:pt x="41567" y="0"/>
                      </a:lnTo>
                      <a:lnTo>
                        <a:pt x="20286" y="20936"/>
                      </a:lnTo>
                      <a:lnTo>
                        <a:pt x="16926" y="30371"/>
                      </a:lnTo>
                      <a:lnTo>
                        <a:pt x="2489" y="303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8" name="Freeform: Shape 417">
                  <a:extLst>
                    <a:ext uri="{FF2B5EF4-FFF2-40B4-BE49-F238E27FC236}">
                      <a16:creationId xmlns:a16="http://schemas.microsoft.com/office/drawing/2014/main" id="{1F9EFCEE-7167-4908-B720-BD056EE286A7}"/>
                    </a:ext>
                  </a:extLst>
                </p:cNvPr>
                <p:cNvSpPr/>
                <p:nvPr/>
              </p:nvSpPr>
              <p:spPr>
                <a:xfrm>
                  <a:off x="5059184" y="2773509"/>
                  <a:ext cx="42285" cy="30370"/>
                </a:xfrm>
                <a:custGeom>
                  <a:avLst/>
                  <a:gdLst>
                    <a:gd name="connsiteX0" fmla="*/ 16760 w 42285"/>
                    <a:gd name="connsiteY0" fmla="*/ 24038 h 30370"/>
                    <a:gd name="connsiteX1" fmla="*/ 14478 w 42285"/>
                    <a:gd name="connsiteY1" fmla="*/ 30371 h 30370"/>
                    <a:gd name="connsiteX2" fmla="*/ 0 w 42285"/>
                    <a:gd name="connsiteY2" fmla="*/ 30371 h 30370"/>
                    <a:gd name="connsiteX3" fmla="*/ 10869 w 42285"/>
                    <a:gd name="connsiteY3" fmla="*/ 0 h 30370"/>
                    <a:gd name="connsiteX4" fmla="*/ 27711 w 42285"/>
                    <a:gd name="connsiteY4" fmla="*/ 0 h 30370"/>
                    <a:gd name="connsiteX5" fmla="*/ 41235 w 42285"/>
                    <a:gd name="connsiteY5" fmla="*/ 14345 h 30370"/>
                    <a:gd name="connsiteX6" fmla="*/ 22982 w 42285"/>
                    <a:gd name="connsiteY6" fmla="*/ 24038 h 30370"/>
                    <a:gd name="connsiteX7" fmla="*/ 16760 w 42285"/>
                    <a:gd name="connsiteY7" fmla="*/ 24038 h 30370"/>
                    <a:gd name="connsiteX8" fmla="*/ 22401 w 42285"/>
                    <a:gd name="connsiteY8" fmla="*/ 8271 h 30370"/>
                    <a:gd name="connsiteX9" fmla="*/ 19705 w 42285"/>
                    <a:gd name="connsiteY9" fmla="*/ 15767 h 30370"/>
                    <a:gd name="connsiteX10" fmla="*/ 21074 w 42285"/>
                    <a:gd name="connsiteY10" fmla="*/ 15767 h 30370"/>
                    <a:gd name="connsiteX11" fmla="*/ 27214 w 42285"/>
                    <a:gd name="connsiteY11" fmla="*/ 12278 h 30370"/>
                    <a:gd name="connsiteX12" fmla="*/ 24642 w 42285"/>
                    <a:gd name="connsiteY12" fmla="*/ 8271 h 30370"/>
                    <a:gd name="connsiteX13" fmla="*/ 22401 w 42285"/>
                    <a:gd name="connsiteY13" fmla="*/ 82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2285" h="30370">
                      <a:moveTo>
                        <a:pt x="16760" y="24038"/>
                      </a:move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7711" y="0"/>
                      </a:lnTo>
                      <a:cubicBezTo>
                        <a:pt x="41318" y="0"/>
                        <a:pt x="44180" y="6160"/>
                        <a:pt x="41235" y="14345"/>
                      </a:cubicBezTo>
                      <a:cubicBezTo>
                        <a:pt x="38290" y="22444"/>
                        <a:pt x="31570" y="24038"/>
                        <a:pt x="22982" y="24038"/>
                      </a:cubicBezTo>
                      <a:lnTo>
                        <a:pt x="16760" y="24038"/>
                      </a:lnTo>
                      <a:close/>
                      <a:moveTo>
                        <a:pt x="22401" y="8271"/>
                      </a:moveTo>
                      <a:lnTo>
                        <a:pt x="19705" y="15767"/>
                      </a:lnTo>
                      <a:lnTo>
                        <a:pt x="21074" y="15767"/>
                      </a:lnTo>
                      <a:cubicBezTo>
                        <a:pt x="25056" y="15767"/>
                        <a:pt x="26260" y="14948"/>
                        <a:pt x="27214" y="12278"/>
                      </a:cubicBezTo>
                      <a:cubicBezTo>
                        <a:pt x="28168" y="9650"/>
                        <a:pt x="27836" y="8271"/>
                        <a:pt x="24642" y="8271"/>
                      </a:cubicBezTo>
                      <a:lnTo>
                        <a:pt x="22401" y="82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9" name="Freeform: Shape 418">
                  <a:extLst>
                    <a:ext uri="{FF2B5EF4-FFF2-40B4-BE49-F238E27FC236}">
                      <a16:creationId xmlns:a16="http://schemas.microsoft.com/office/drawing/2014/main" id="{0A0F7AC7-CB79-4464-A5D5-A0DB716F3FBA}"/>
                    </a:ext>
                  </a:extLst>
                </p:cNvPr>
                <p:cNvSpPr/>
                <p:nvPr/>
              </p:nvSpPr>
              <p:spPr>
                <a:xfrm>
                  <a:off x="5102205" y="2772691"/>
                  <a:ext cx="41665" cy="32050"/>
                </a:xfrm>
                <a:custGeom>
                  <a:avLst/>
                  <a:gdLst>
                    <a:gd name="connsiteX0" fmla="*/ 1409 w 41665"/>
                    <a:gd name="connsiteY0" fmla="*/ 13828 h 32050"/>
                    <a:gd name="connsiteX1" fmla="*/ 24473 w 41665"/>
                    <a:gd name="connsiteY1" fmla="*/ 0 h 32050"/>
                    <a:gd name="connsiteX2" fmla="*/ 40279 w 41665"/>
                    <a:gd name="connsiteY2" fmla="*/ 18179 h 32050"/>
                    <a:gd name="connsiteX3" fmla="*/ 17255 w 41665"/>
                    <a:gd name="connsiteY3" fmla="*/ 32051 h 32050"/>
                    <a:gd name="connsiteX4" fmla="*/ 1409 w 41665"/>
                    <a:gd name="connsiteY4" fmla="*/ 13828 h 32050"/>
                    <a:gd name="connsiteX5" fmla="*/ 26257 w 41665"/>
                    <a:gd name="connsiteY5" fmla="*/ 16887 h 32050"/>
                    <a:gd name="connsiteX6" fmla="*/ 22980 w 41665"/>
                    <a:gd name="connsiteY6" fmla="*/ 8874 h 32050"/>
                    <a:gd name="connsiteX7" fmla="*/ 15472 w 41665"/>
                    <a:gd name="connsiteY7" fmla="*/ 15121 h 32050"/>
                    <a:gd name="connsiteX8" fmla="*/ 18749 w 41665"/>
                    <a:gd name="connsiteY8" fmla="*/ 23134 h 32050"/>
                    <a:gd name="connsiteX9" fmla="*/ 26257 w 41665"/>
                    <a:gd name="connsiteY9" fmla="*/ 16887 h 32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1665" h="32050">
                      <a:moveTo>
                        <a:pt x="1409" y="13828"/>
                      </a:moveTo>
                      <a:cubicBezTo>
                        <a:pt x="5184" y="3489"/>
                        <a:pt x="12070" y="0"/>
                        <a:pt x="24473" y="0"/>
                      </a:cubicBezTo>
                      <a:cubicBezTo>
                        <a:pt x="40279" y="0"/>
                        <a:pt x="44137" y="7625"/>
                        <a:pt x="40279" y="18179"/>
                      </a:cubicBezTo>
                      <a:cubicBezTo>
                        <a:pt x="36462" y="28562"/>
                        <a:pt x="29576" y="32051"/>
                        <a:pt x="17255" y="32051"/>
                      </a:cubicBezTo>
                      <a:cubicBezTo>
                        <a:pt x="1367" y="32051"/>
                        <a:pt x="-2491" y="24426"/>
                        <a:pt x="1409" y="13828"/>
                      </a:cubicBezTo>
                      <a:close/>
                      <a:moveTo>
                        <a:pt x="26257" y="16887"/>
                      </a:moveTo>
                      <a:cubicBezTo>
                        <a:pt x="28041" y="11545"/>
                        <a:pt x="27211" y="8874"/>
                        <a:pt x="22980" y="8874"/>
                      </a:cubicBezTo>
                      <a:cubicBezTo>
                        <a:pt x="19288" y="8874"/>
                        <a:pt x="17214" y="10210"/>
                        <a:pt x="15472" y="15121"/>
                      </a:cubicBezTo>
                      <a:cubicBezTo>
                        <a:pt x="13605" y="20419"/>
                        <a:pt x="14435" y="23134"/>
                        <a:pt x="18749" y="23134"/>
                      </a:cubicBezTo>
                      <a:cubicBezTo>
                        <a:pt x="22358" y="23134"/>
                        <a:pt x="24432" y="21798"/>
                        <a:pt x="26257" y="16887"/>
                      </a:cubicBez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0" name="Freeform: Shape 419">
                  <a:extLst>
                    <a:ext uri="{FF2B5EF4-FFF2-40B4-BE49-F238E27FC236}">
                      <a16:creationId xmlns:a16="http://schemas.microsoft.com/office/drawing/2014/main" id="{FA3B96EB-4213-48DD-BA4B-0E467218997B}"/>
                    </a:ext>
                  </a:extLst>
                </p:cNvPr>
                <p:cNvSpPr/>
                <p:nvPr/>
              </p:nvSpPr>
              <p:spPr>
                <a:xfrm>
                  <a:off x="5145595" y="2773509"/>
                  <a:ext cx="33560" cy="30370"/>
                </a:xfrm>
                <a:custGeom>
                  <a:avLst/>
                  <a:gdLst>
                    <a:gd name="connsiteX0" fmla="*/ 22567 w 33560"/>
                    <a:gd name="connsiteY0" fmla="*/ 9133 h 30370"/>
                    <a:gd name="connsiteX1" fmla="*/ 14976 w 33560"/>
                    <a:gd name="connsiteY1" fmla="*/ 30371 h 30370"/>
                    <a:gd name="connsiteX2" fmla="*/ 498 w 33560"/>
                    <a:gd name="connsiteY2" fmla="*/ 30371 h 30370"/>
                    <a:gd name="connsiteX3" fmla="*/ 8089 w 33560"/>
                    <a:gd name="connsiteY3" fmla="*/ 9133 h 30370"/>
                    <a:gd name="connsiteX4" fmla="*/ 0 w 33560"/>
                    <a:gd name="connsiteY4" fmla="*/ 9133 h 30370"/>
                    <a:gd name="connsiteX5" fmla="*/ 3277 w 33560"/>
                    <a:gd name="connsiteY5" fmla="*/ 0 h 30370"/>
                    <a:gd name="connsiteX6" fmla="*/ 33560 w 33560"/>
                    <a:gd name="connsiteY6" fmla="*/ 0 h 30370"/>
                    <a:gd name="connsiteX7" fmla="*/ 30283 w 33560"/>
                    <a:gd name="connsiteY7" fmla="*/ 9133 h 30370"/>
                    <a:gd name="connsiteX8" fmla="*/ 22567 w 33560"/>
                    <a:gd name="connsiteY8" fmla="*/ 9133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3560" h="30370">
                      <a:moveTo>
                        <a:pt x="22567" y="9133"/>
                      </a:moveTo>
                      <a:lnTo>
                        <a:pt x="14976" y="30371"/>
                      </a:lnTo>
                      <a:lnTo>
                        <a:pt x="498" y="30371"/>
                      </a:lnTo>
                      <a:lnTo>
                        <a:pt x="8089" y="9133"/>
                      </a:lnTo>
                      <a:lnTo>
                        <a:pt x="0" y="9133"/>
                      </a:lnTo>
                      <a:lnTo>
                        <a:pt x="3277" y="0"/>
                      </a:lnTo>
                      <a:lnTo>
                        <a:pt x="33560" y="0"/>
                      </a:lnTo>
                      <a:lnTo>
                        <a:pt x="30283" y="9133"/>
                      </a:lnTo>
                      <a:lnTo>
                        <a:pt x="22567" y="9133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1" name="Freeform: Shape 420">
                  <a:extLst>
                    <a:ext uri="{FF2B5EF4-FFF2-40B4-BE49-F238E27FC236}">
                      <a16:creationId xmlns:a16="http://schemas.microsoft.com/office/drawing/2014/main" id="{718FF156-8084-4B43-9679-B9BEF281E99E}"/>
                    </a:ext>
                  </a:extLst>
                </p:cNvPr>
                <p:cNvSpPr/>
                <p:nvPr/>
              </p:nvSpPr>
              <p:spPr>
                <a:xfrm>
                  <a:off x="5172435" y="2773509"/>
                  <a:ext cx="46835" cy="30370"/>
                </a:xfrm>
                <a:custGeom>
                  <a:avLst/>
                  <a:gdLst>
                    <a:gd name="connsiteX0" fmla="*/ 25305 w 46835"/>
                    <a:gd name="connsiteY0" fmla="*/ 19730 h 30370"/>
                    <a:gd name="connsiteX1" fmla="*/ 18294 w 46835"/>
                    <a:gd name="connsiteY1" fmla="*/ 19730 h 30370"/>
                    <a:gd name="connsiteX2" fmla="*/ 14478 w 46835"/>
                    <a:gd name="connsiteY2" fmla="*/ 30371 h 30370"/>
                    <a:gd name="connsiteX3" fmla="*/ 0 w 46835"/>
                    <a:gd name="connsiteY3" fmla="*/ 30371 h 30370"/>
                    <a:gd name="connsiteX4" fmla="*/ 10869 w 46835"/>
                    <a:gd name="connsiteY4" fmla="*/ 0 h 30370"/>
                    <a:gd name="connsiteX5" fmla="*/ 25346 w 46835"/>
                    <a:gd name="connsiteY5" fmla="*/ 0 h 30370"/>
                    <a:gd name="connsiteX6" fmla="*/ 21530 w 46835"/>
                    <a:gd name="connsiteY6" fmla="*/ 10641 h 30370"/>
                    <a:gd name="connsiteX7" fmla="*/ 28541 w 46835"/>
                    <a:gd name="connsiteY7" fmla="*/ 10641 h 30370"/>
                    <a:gd name="connsiteX8" fmla="*/ 32357 w 46835"/>
                    <a:gd name="connsiteY8" fmla="*/ 0 h 30370"/>
                    <a:gd name="connsiteX9" fmla="*/ 46835 w 46835"/>
                    <a:gd name="connsiteY9" fmla="*/ 0 h 30370"/>
                    <a:gd name="connsiteX10" fmla="*/ 35967 w 46835"/>
                    <a:gd name="connsiteY10" fmla="*/ 30371 h 30370"/>
                    <a:gd name="connsiteX11" fmla="*/ 21530 w 46835"/>
                    <a:gd name="connsiteY11" fmla="*/ 30371 h 30370"/>
                    <a:gd name="connsiteX12" fmla="*/ 25305 w 46835"/>
                    <a:gd name="connsiteY12" fmla="*/ 19730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6835" h="30370">
                      <a:moveTo>
                        <a:pt x="25305" y="19730"/>
                      </a:moveTo>
                      <a:lnTo>
                        <a:pt x="18294" y="19730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5346" y="0"/>
                      </a:lnTo>
                      <a:lnTo>
                        <a:pt x="21530" y="10641"/>
                      </a:lnTo>
                      <a:lnTo>
                        <a:pt x="28541" y="10641"/>
                      </a:lnTo>
                      <a:lnTo>
                        <a:pt x="32357" y="0"/>
                      </a:lnTo>
                      <a:lnTo>
                        <a:pt x="46835" y="0"/>
                      </a:lnTo>
                      <a:lnTo>
                        <a:pt x="35967" y="30371"/>
                      </a:lnTo>
                      <a:lnTo>
                        <a:pt x="21530" y="30371"/>
                      </a:lnTo>
                      <a:lnTo>
                        <a:pt x="25305" y="1973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2" name="Freeform: Shape 421">
                  <a:extLst>
                    <a:ext uri="{FF2B5EF4-FFF2-40B4-BE49-F238E27FC236}">
                      <a16:creationId xmlns:a16="http://schemas.microsoft.com/office/drawing/2014/main" id="{F435C1DB-B0CA-4AF7-8B18-8678CBE26155}"/>
                    </a:ext>
                  </a:extLst>
                </p:cNvPr>
                <p:cNvSpPr/>
                <p:nvPr/>
              </p:nvSpPr>
              <p:spPr>
                <a:xfrm>
                  <a:off x="5214209" y="2773509"/>
                  <a:ext cx="41317" cy="30413"/>
                </a:xfrm>
                <a:custGeom>
                  <a:avLst/>
                  <a:gdLst>
                    <a:gd name="connsiteX0" fmla="*/ 10869 w 41317"/>
                    <a:gd name="connsiteY0" fmla="*/ 0 h 30413"/>
                    <a:gd name="connsiteX1" fmla="*/ 41318 w 41317"/>
                    <a:gd name="connsiteY1" fmla="*/ 0 h 30413"/>
                    <a:gd name="connsiteX2" fmla="*/ 38372 w 41317"/>
                    <a:gd name="connsiteY2" fmla="*/ 8271 h 30413"/>
                    <a:gd name="connsiteX3" fmla="*/ 22359 w 41317"/>
                    <a:gd name="connsiteY3" fmla="*/ 8271 h 30413"/>
                    <a:gd name="connsiteX4" fmla="*/ 21364 w 41317"/>
                    <a:gd name="connsiteY4" fmla="*/ 11028 h 30413"/>
                    <a:gd name="connsiteX5" fmla="*/ 35800 w 41317"/>
                    <a:gd name="connsiteY5" fmla="*/ 11028 h 30413"/>
                    <a:gd name="connsiteX6" fmla="*/ 32772 w 41317"/>
                    <a:gd name="connsiteY6" fmla="*/ 19299 h 30413"/>
                    <a:gd name="connsiteX7" fmla="*/ 18419 w 41317"/>
                    <a:gd name="connsiteY7" fmla="*/ 19299 h 30413"/>
                    <a:gd name="connsiteX8" fmla="*/ 17381 w 41317"/>
                    <a:gd name="connsiteY8" fmla="*/ 22143 h 30413"/>
                    <a:gd name="connsiteX9" fmla="*/ 33394 w 41317"/>
                    <a:gd name="connsiteY9" fmla="*/ 22143 h 30413"/>
                    <a:gd name="connsiteX10" fmla="*/ 30449 w 41317"/>
                    <a:gd name="connsiteY10" fmla="*/ 30414 h 30413"/>
                    <a:gd name="connsiteX11" fmla="*/ 0 w 41317"/>
                    <a:gd name="connsiteY11" fmla="*/ 30414 h 30413"/>
                    <a:gd name="connsiteX12" fmla="*/ 10869 w 41317"/>
                    <a:gd name="connsiteY12" fmla="*/ 0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317" h="30413">
                      <a:moveTo>
                        <a:pt x="10869" y="0"/>
                      </a:moveTo>
                      <a:lnTo>
                        <a:pt x="41318" y="0"/>
                      </a:lnTo>
                      <a:lnTo>
                        <a:pt x="38372" y="8271"/>
                      </a:lnTo>
                      <a:lnTo>
                        <a:pt x="22359" y="8271"/>
                      </a:lnTo>
                      <a:lnTo>
                        <a:pt x="21364" y="11028"/>
                      </a:lnTo>
                      <a:lnTo>
                        <a:pt x="35800" y="11028"/>
                      </a:lnTo>
                      <a:lnTo>
                        <a:pt x="32772" y="19299"/>
                      </a:lnTo>
                      <a:lnTo>
                        <a:pt x="18419" y="19299"/>
                      </a:lnTo>
                      <a:lnTo>
                        <a:pt x="17381" y="22143"/>
                      </a:lnTo>
                      <a:lnTo>
                        <a:pt x="33394" y="22143"/>
                      </a:lnTo>
                      <a:lnTo>
                        <a:pt x="30449" y="30414"/>
                      </a:lnTo>
                      <a:lnTo>
                        <a:pt x="0" y="30414"/>
                      </a:lnTo>
                      <a:lnTo>
                        <a:pt x="10869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3" name="Freeform: Shape 422">
                  <a:extLst>
                    <a:ext uri="{FF2B5EF4-FFF2-40B4-BE49-F238E27FC236}">
                      <a16:creationId xmlns:a16="http://schemas.microsoft.com/office/drawing/2014/main" id="{C15B8856-BE74-4406-804E-D58859F9F4D3}"/>
                    </a:ext>
                  </a:extLst>
                </p:cNvPr>
                <p:cNvSpPr/>
                <p:nvPr/>
              </p:nvSpPr>
              <p:spPr>
                <a:xfrm>
                  <a:off x="5249429" y="2772691"/>
                  <a:ext cx="38206" cy="32050"/>
                </a:xfrm>
                <a:custGeom>
                  <a:avLst/>
                  <a:gdLst>
                    <a:gd name="connsiteX0" fmla="*/ 0 w 38206"/>
                    <a:gd name="connsiteY0" fmla="*/ 29768 h 32050"/>
                    <a:gd name="connsiteX1" fmla="*/ 2945 w 38206"/>
                    <a:gd name="connsiteY1" fmla="*/ 21626 h 32050"/>
                    <a:gd name="connsiteX2" fmla="*/ 13689 w 38206"/>
                    <a:gd name="connsiteY2" fmla="*/ 23607 h 32050"/>
                    <a:gd name="connsiteX3" fmla="*/ 19248 w 38206"/>
                    <a:gd name="connsiteY3" fmla="*/ 22229 h 32050"/>
                    <a:gd name="connsiteX4" fmla="*/ 18335 w 38206"/>
                    <a:gd name="connsiteY4" fmla="*/ 20506 h 32050"/>
                    <a:gd name="connsiteX5" fmla="*/ 14187 w 38206"/>
                    <a:gd name="connsiteY5" fmla="*/ 19859 h 32050"/>
                    <a:gd name="connsiteX6" fmla="*/ 6388 w 38206"/>
                    <a:gd name="connsiteY6" fmla="*/ 8831 h 32050"/>
                    <a:gd name="connsiteX7" fmla="*/ 24226 w 38206"/>
                    <a:gd name="connsiteY7" fmla="*/ 0 h 32050"/>
                    <a:gd name="connsiteX8" fmla="*/ 38206 w 38206"/>
                    <a:gd name="connsiteY8" fmla="*/ 2154 h 32050"/>
                    <a:gd name="connsiteX9" fmla="*/ 35303 w 38206"/>
                    <a:gd name="connsiteY9" fmla="*/ 10296 h 32050"/>
                    <a:gd name="connsiteX10" fmla="*/ 24932 w 38206"/>
                    <a:gd name="connsiteY10" fmla="*/ 8443 h 32050"/>
                    <a:gd name="connsiteX11" fmla="*/ 20285 w 38206"/>
                    <a:gd name="connsiteY11" fmla="*/ 9650 h 32050"/>
                    <a:gd name="connsiteX12" fmla="*/ 21115 w 38206"/>
                    <a:gd name="connsiteY12" fmla="*/ 11114 h 32050"/>
                    <a:gd name="connsiteX13" fmla="*/ 25263 w 38206"/>
                    <a:gd name="connsiteY13" fmla="*/ 11761 h 32050"/>
                    <a:gd name="connsiteX14" fmla="*/ 33021 w 38206"/>
                    <a:gd name="connsiteY14" fmla="*/ 23349 h 32050"/>
                    <a:gd name="connsiteX15" fmla="*/ 15349 w 38206"/>
                    <a:gd name="connsiteY15" fmla="*/ 32051 h 32050"/>
                    <a:gd name="connsiteX16" fmla="*/ 0 w 38206"/>
                    <a:gd name="connsiteY16" fmla="*/ 29768 h 32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8206" h="32050">
                      <a:moveTo>
                        <a:pt x="0" y="29768"/>
                      </a:moveTo>
                      <a:lnTo>
                        <a:pt x="2945" y="21626"/>
                      </a:lnTo>
                      <a:cubicBezTo>
                        <a:pt x="5476" y="22703"/>
                        <a:pt x="10122" y="23607"/>
                        <a:pt x="13689" y="23607"/>
                      </a:cubicBezTo>
                      <a:cubicBezTo>
                        <a:pt x="17589" y="23607"/>
                        <a:pt x="18709" y="23392"/>
                        <a:pt x="19248" y="22229"/>
                      </a:cubicBezTo>
                      <a:cubicBezTo>
                        <a:pt x="19705" y="21195"/>
                        <a:pt x="19124" y="20635"/>
                        <a:pt x="18335" y="20506"/>
                      </a:cubicBezTo>
                      <a:lnTo>
                        <a:pt x="14187" y="19859"/>
                      </a:lnTo>
                      <a:cubicBezTo>
                        <a:pt x="5973" y="18610"/>
                        <a:pt x="4397" y="14475"/>
                        <a:pt x="6388" y="8831"/>
                      </a:cubicBezTo>
                      <a:cubicBezTo>
                        <a:pt x="8711" y="2283"/>
                        <a:pt x="15100" y="0"/>
                        <a:pt x="24226" y="0"/>
                      </a:cubicBezTo>
                      <a:cubicBezTo>
                        <a:pt x="30200" y="0"/>
                        <a:pt x="34307" y="732"/>
                        <a:pt x="38206" y="2154"/>
                      </a:cubicBezTo>
                      <a:lnTo>
                        <a:pt x="35303" y="10296"/>
                      </a:lnTo>
                      <a:cubicBezTo>
                        <a:pt x="33021" y="9391"/>
                        <a:pt x="28873" y="8443"/>
                        <a:pt x="24932" y="8443"/>
                      </a:cubicBezTo>
                      <a:cubicBezTo>
                        <a:pt x="21820" y="8443"/>
                        <a:pt x="20659" y="8616"/>
                        <a:pt x="20285" y="9650"/>
                      </a:cubicBezTo>
                      <a:cubicBezTo>
                        <a:pt x="19912" y="10641"/>
                        <a:pt x="20327" y="10985"/>
                        <a:pt x="21115" y="11114"/>
                      </a:cubicBezTo>
                      <a:lnTo>
                        <a:pt x="25263" y="11761"/>
                      </a:lnTo>
                      <a:cubicBezTo>
                        <a:pt x="33602" y="13010"/>
                        <a:pt x="35261" y="17447"/>
                        <a:pt x="33021" y="23349"/>
                      </a:cubicBezTo>
                      <a:cubicBezTo>
                        <a:pt x="30490" y="30112"/>
                        <a:pt x="24351" y="32051"/>
                        <a:pt x="15349" y="32051"/>
                      </a:cubicBezTo>
                      <a:cubicBezTo>
                        <a:pt x="8711" y="32051"/>
                        <a:pt x="4190" y="31319"/>
                        <a:pt x="0" y="29768"/>
                      </a:cubicBez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4" name="Freeform: Shape 423">
                  <a:extLst>
                    <a:ext uri="{FF2B5EF4-FFF2-40B4-BE49-F238E27FC236}">
                      <a16:creationId xmlns:a16="http://schemas.microsoft.com/office/drawing/2014/main" id="{64357BC7-81F8-4C6C-8234-E80D08F23684}"/>
                    </a:ext>
                  </a:extLst>
                </p:cNvPr>
                <p:cNvSpPr/>
                <p:nvPr/>
              </p:nvSpPr>
              <p:spPr>
                <a:xfrm>
                  <a:off x="5283528" y="2773509"/>
                  <a:ext cx="25346" cy="30370"/>
                </a:xfrm>
                <a:custGeom>
                  <a:avLst/>
                  <a:gdLst>
                    <a:gd name="connsiteX0" fmla="*/ 0 w 25346"/>
                    <a:gd name="connsiteY0" fmla="*/ 30371 h 30370"/>
                    <a:gd name="connsiteX1" fmla="*/ 10869 w 25346"/>
                    <a:gd name="connsiteY1" fmla="*/ 0 h 30370"/>
                    <a:gd name="connsiteX2" fmla="*/ 25346 w 25346"/>
                    <a:gd name="connsiteY2" fmla="*/ 0 h 30370"/>
                    <a:gd name="connsiteX3" fmla="*/ 14478 w 25346"/>
                    <a:gd name="connsiteY3" fmla="*/ 30371 h 30370"/>
                    <a:gd name="connsiteX4" fmla="*/ 0 w 25346"/>
                    <a:gd name="connsiteY4" fmla="*/ 303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346" h="30370">
                      <a:moveTo>
                        <a:pt x="0" y="30371"/>
                      </a:moveTo>
                      <a:lnTo>
                        <a:pt x="10869" y="0"/>
                      </a:lnTo>
                      <a:lnTo>
                        <a:pt x="25346" y="0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5" name="Freeform: Shape 424">
                  <a:extLst>
                    <a:ext uri="{FF2B5EF4-FFF2-40B4-BE49-F238E27FC236}">
                      <a16:creationId xmlns:a16="http://schemas.microsoft.com/office/drawing/2014/main" id="{BBBC0D0B-01D5-432A-8EB3-25C5DF3F7270}"/>
                    </a:ext>
                  </a:extLst>
                </p:cNvPr>
                <p:cNvSpPr/>
                <p:nvPr/>
              </p:nvSpPr>
              <p:spPr>
                <a:xfrm>
                  <a:off x="5303565" y="2772691"/>
                  <a:ext cx="38165" cy="32050"/>
                </a:xfrm>
                <a:custGeom>
                  <a:avLst/>
                  <a:gdLst>
                    <a:gd name="connsiteX0" fmla="*/ 0 w 38165"/>
                    <a:gd name="connsiteY0" fmla="*/ 29768 h 32050"/>
                    <a:gd name="connsiteX1" fmla="*/ 2946 w 38165"/>
                    <a:gd name="connsiteY1" fmla="*/ 21626 h 32050"/>
                    <a:gd name="connsiteX2" fmla="*/ 13690 w 38165"/>
                    <a:gd name="connsiteY2" fmla="*/ 23607 h 32050"/>
                    <a:gd name="connsiteX3" fmla="*/ 19249 w 38165"/>
                    <a:gd name="connsiteY3" fmla="*/ 22229 h 32050"/>
                    <a:gd name="connsiteX4" fmla="*/ 18336 w 38165"/>
                    <a:gd name="connsiteY4" fmla="*/ 20506 h 32050"/>
                    <a:gd name="connsiteX5" fmla="*/ 14188 w 38165"/>
                    <a:gd name="connsiteY5" fmla="*/ 19859 h 32050"/>
                    <a:gd name="connsiteX6" fmla="*/ 6389 w 38165"/>
                    <a:gd name="connsiteY6" fmla="*/ 8831 h 32050"/>
                    <a:gd name="connsiteX7" fmla="*/ 24226 w 38165"/>
                    <a:gd name="connsiteY7" fmla="*/ 0 h 32050"/>
                    <a:gd name="connsiteX8" fmla="*/ 38165 w 38165"/>
                    <a:gd name="connsiteY8" fmla="*/ 2154 h 32050"/>
                    <a:gd name="connsiteX9" fmla="*/ 35261 w 38165"/>
                    <a:gd name="connsiteY9" fmla="*/ 10296 h 32050"/>
                    <a:gd name="connsiteX10" fmla="*/ 24890 w 38165"/>
                    <a:gd name="connsiteY10" fmla="*/ 8443 h 32050"/>
                    <a:gd name="connsiteX11" fmla="*/ 20244 w 38165"/>
                    <a:gd name="connsiteY11" fmla="*/ 9650 h 32050"/>
                    <a:gd name="connsiteX12" fmla="*/ 21074 w 38165"/>
                    <a:gd name="connsiteY12" fmla="*/ 11114 h 32050"/>
                    <a:gd name="connsiteX13" fmla="*/ 25222 w 38165"/>
                    <a:gd name="connsiteY13" fmla="*/ 11761 h 32050"/>
                    <a:gd name="connsiteX14" fmla="*/ 32980 w 38165"/>
                    <a:gd name="connsiteY14" fmla="*/ 23349 h 32050"/>
                    <a:gd name="connsiteX15" fmla="*/ 15308 w 38165"/>
                    <a:gd name="connsiteY15" fmla="*/ 32051 h 32050"/>
                    <a:gd name="connsiteX16" fmla="*/ 0 w 38165"/>
                    <a:gd name="connsiteY16" fmla="*/ 29768 h 32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8165" h="32050">
                      <a:moveTo>
                        <a:pt x="0" y="29768"/>
                      </a:moveTo>
                      <a:lnTo>
                        <a:pt x="2946" y="21626"/>
                      </a:lnTo>
                      <a:cubicBezTo>
                        <a:pt x="5476" y="22703"/>
                        <a:pt x="10122" y="23607"/>
                        <a:pt x="13690" y="23607"/>
                      </a:cubicBezTo>
                      <a:cubicBezTo>
                        <a:pt x="17589" y="23607"/>
                        <a:pt x="18709" y="23392"/>
                        <a:pt x="19249" y="22229"/>
                      </a:cubicBezTo>
                      <a:cubicBezTo>
                        <a:pt x="19705" y="21195"/>
                        <a:pt x="19124" y="20635"/>
                        <a:pt x="18336" y="20506"/>
                      </a:cubicBezTo>
                      <a:lnTo>
                        <a:pt x="14188" y="19859"/>
                      </a:lnTo>
                      <a:cubicBezTo>
                        <a:pt x="5974" y="18610"/>
                        <a:pt x="4398" y="14475"/>
                        <a:pt x="6389" y="8831"/>
                      </a:cubicBezTo>
                      <a:cubicBezTo>
                        <a:pt x="8711" y="2283"/>
                        <a:pt x="15100" y="0"/>
                        <a:pt x="24226" y="0"/>
                      </a:cubicBezTo>
                      <a:cubicBezTo>
                        <a:pt x="30200" y="0"/>
                        <a:pt x="34307" y="732"/>
                        <a:pt x="38165" y="2154"/>
                      </a:cubicBezTo>
                      <a:lnTo>
                        <a:pt x="35261" y="10296"/>
                      </a:lnTo>
                      <a:cubicBezTo>
                        <a:pt x="32980" y="9391"/>
                        <a:pt x="28831" y="8443"/>
                        <a:pt x="24890" y="8443"/>
                      </a:cubicBezTo>
                      <a:cubicBezTo>
                        <a:pt x="21779" y="8443"/>
                        <a:pt x="20617" y="8616"/>
                        <a:pt x="20244" y="9650"/>
                      </a:cubicBezTo>
                      <a:cubicBezTo>
                        <a:pt x="19871" y="10641"/>
                        <a:pt x="20286" y="10985"/>
                        <a:pt x="21074" y="11114"/>
                      </a:cubicBezTo>
                      <a:lnTo>
                        <a:pt x="25222" y="11761"/>
                      </a:lnTo>
                      <a:cubicBezTo>
                        <a:pt x="33560" y="13010"/>
                        <a:pt x="35220" y="17447"/>
                        <a:pt x="32980" y="23349"/>
                      </a:cubicBezTo>
                      <a:cubicBezTo>
                        <a:pt x="30449" y="30112"/>
                        <a:pt x="24309" y="32051"/>
                        <a:pt x="15308" y="32051"/>
                      </a:cubicBezTo>
                      <a:cubicBezTo>
                        <a:pt x="8711" y="32051"/>
                        <a:pt x="4190" y="31319"/>
                        <a:pt x="0" y="29768"/>
                      </a:cubicBez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426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7316935" y="2534032"/>
            <a:ext cx="1406547" cy="258087"/>
            <a:chOff x="7316935" y="2534032"/>
            <a:chExt cx="1406547" cy="258087"/>
          </a:xfrm>
          <a:solidFill>
            <a:schemeClr val="accent1"/>
          </a:solidFill>
        </p:grpSpPr>
        <p:grpSp>
          <p:nvGrpSpPr>
            <p:cNvPr id="427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7332658" y="2534032"/>
              <a:ext cx="1390824" cy="199671"/>
              <a:chOff x="7332658" y="2534032"/>
              <a:chExt cx="1390824" cy="199671"/>
            </a:xfrm>
            <a:solidFill>
              <a:schemeClr val="accent1"/>
            </a:solidFill>
          </p:grpSpPr>
          <p:grpSp>
            <p:nvGrpSpPr>
              <p:cNvPr id="428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7332658" y="2534032"/>
                <a:ext cx="1390824" cy="199671"/>
                <a:chOff x="7332658" y="2534032"/>
                <a:chExt cx="1390824" cy="199671"/>
              </a:xfrm>
              <a:solidFill>
                <a:srgbClr val="27509B"/>
              </a:solidFill>
            </p:grpSpPr>
            <p:sp>
              <p:nvSpPr>
                <p:cNvPr id="429" name="Freeform: Shape 428">
                  <a:extLst>
                    <a:ext uri="{FF2B5EF4-FFF2-40B4-BE49-F238E27FC236}">
                      <a16:creationId xmlns:a16="http://schemas.microsoft.com/office/drawing/2014/main" id="{68238075-A6E2-4677-A900-2F9C0AB26EF2}"/>
                    </a:ext>
                  </a:extLst>
                </p:cNvPr>
                <p:cNvSpPr/>
                <p:nvPr/>
              </p:nvSpPr>
              <p:spPr>
                <a:xfrm>
                  <a:off x="8384228" y="2534032"/>
                  <a:ext cx="339253" cy="199671"/>
                </a:xfrm>
                <a:custGeom>
                  <a:avLst/>
                  <a:gdLst>
                    <a:gd name="connsiteX0" fmla="*/ 310837 w 339253"/>
                    <a:gd name="connsiteY0" fmla="*/ 199672 h 199671"/>
                    <a:gd name="connsiteX1" fmla="*/ 0 w 339253"/>
                    <a:gd name="connsiteY1" fmla="*/ 199672 h 199671"/>
                    <a:gd name="connsiteX2" fmla="*/ 28458 w 339253"/>
                    <a:gd name="connsiteY2" fmla="*/ 99211 h 199671"/>
                    <a:gd name="connsiteX3" fmla="*/ 0 w 339253"/>
                    <a:gd name="connsiteY3" fmla="*/ 0 h 199671"/>
                    <a:gd name="connsiteX4" fmla="*/ 310837 w 339253"/>
                    <a:gd name="connsiteY4" fmla="*/ 0 h 199671"/>
                    <a:gd name="connsiteX5" fmla="*/ 339254 w 339253"/>
                    <a:gd name="connsiteY5" fmla="*/ 99211 h 199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9253" h="199671">
                      <a:moveTo>
                        <a:pt x="310837" y="199672"/>
                      </a:moveTo>
                      <a:lnTo>
                        <a:pt x="0" y="199672"/>
                      </a:lnTo>
                      <a:lnTo>
                        <a:pt x="28458" y="99211"/>
                      </a:lnTo>
                      <a:lnTo>
                        <a:pt x="0" y="0"/>
                      </a:lnTo>
                      <a:lnTo>
                        <a:pt x="310837" y="0"/>
                      </a:lnTo>
                      <a:lnTo>
                        <a:pt x="339254" y="9921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829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0" name="Freeform: Shape 429">
                  <a:extLst>
                    <a:ext uri="{FF2B5EF4-FFF2-40B4-BE49-F238E27FC236}">
                      <a16:creationId xmlns:a16="http://schemas.microsoft.com/office/drawing/2014/main" id="{457B8FE8-3E65-4F9D-9281-FACBE221E609}"/>
                    </a:ext>
                  </a:extLst>
                </p:cNvPr>
                <p:cNvSpPr/>
                <p:nvPr/>
              </p:nvSpPr>
              <p:spPr>
                <a:xfrm>
                  <a:off x="7682988" y="2534032"/>
                  <a:ext cx="339544" cy="199671"/>
                </a:xfrm>
                <a:custGeom>
                  <a:avLst/>
                  <a:gdLst>
                    <a:gd name="connsiteX0" fmla="*/ 311128 w 339544"/>
                    <a:gd name="connsiteY0" fmla="*/ 199672 h 199671"/>
                    <a:gd name="connsiteX1" fmla="*/ 0 w 339544"/>
                    <a:gd name="connsiteY1" fmla="*/ 199672 h 199671"/>
                    <a:gd name="connsiteX2" fmla="*/ 28458 w 339544"/>
                    <a:gd name="connsiteY2" fmla="*/ 99211 h 199671"/>
                    <a:gd name="connsiteX3" fmla="*/ 0 w 339544"/>
                    <a:gd name="connsiteY3" fmla="*/ 0 h 199671"/>
                    <a:gd name="connsiteX4" fmla="*/ 311128 w 339544"/>
                    <a:gd name="connsiteY4" fmla="*/ 0 h 199671"/>
                    <a:gd name="connsiteX5" fmla="*/ 339544 w 339544"/>
                    <a:gd name="connsiteY5" fmla="*/ 99211 h 199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9544" h="199671">
                      <a:moveTo>
                        <a:pt x="311128" y="199672"/>
                      </a:moveTo>
                      <a:lnTo>
                        <a:pt x="0" y="199672"/>
                      </a:lnTo>
                      <a:lnTo>
                        <a:pt x="28458" y="99211"/>
                      </a:lnTo>
                      <a:lnTo>
                        <a:pt x="0" y="0"/>
                      </a:lnTo>
                      <a:lnTo>
                        <a:pt x="311128" y="0"/>
                      </a:lnTo>
                      <a:lnTo>
                        <a:pt x="339544" y="9921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829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1" name="Freeform: Shape 430">
                  <a:extLst>
                    <a:ext uri="{FF2B5EF4-FFF2-40B4-BE49-F238E27FC236}">
                      <a16:creationId xmlns:a16="http://schemas.microsoft.com/office/drawing/2014/main" id="{7978D15E-53BF-4E16-AFF1-46395BFD7993}"/>
                    </a:ext>
                  </a:extLst>
                </p:cNvPr>
                <p:cNvSpPr/>
                <p:nvPr/>
              </p:nvSpPr>
              <p:spPr>
                <a:xfrm>
                  <a:off x="7332658" y="2534032"/>
                  <a:ext cx="339253" cy="199671"/>
                </a:xfrm>
                <a:custGeom>
                  <a:avLst/>
                  <a:gdLst>
                    <a:gd name="connsiteX0" fmla="*/ 310838 w 339253"/>
                    <a:gd name="connsiteY0" fmla="*/ 199672 h 199671"/>
                    <a:gd name="connsiteX1" fmla="*/ 0 w 339253"/>
                    <a:gd name="connsiteY1" fmla="*/ 199672 h 199671"/>
                    <a:gd name="connsiteX2" fmla="*/ 28416 w 339253"/>
                    <a:gd name="connsiteY2" fmla="*/ 99211 h 199671"/>
                    <a:gd name="connsiteX3" fmla="*/ 0 w 339253"/>
                    <a:gd name="connsiteY3" fmla="*/ 0 h 199671"/>
                    <a:gd name="connsiteX4" fmla="*/ 310838 w 339253"/>
                    <a:gd name="connsiteY4" fmla="*/ 0 h 199671"/>
                    <a:gd name="connsiteX5" fmla="*/ 339254 w 339253"/>
                    <a:gd name="connsiteY5" fmla="*/ 99211 h 199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9253" h="199671">
                      <a:moveTo>
                        <a:pt x="310838" y="199672"/>
                      </a:moveTo>
                      <a:lnTo>
                        <a:pt x="0" y="199672"/>
                      </a:lnTo>
                      <a:lnTo>
                        <a:pt x="28416" y="99211"/>
                      </a:lnTo>
                      <a:lnTo>
                        <a:pt x="0" y="0"/>
                      </a:lnTo>
                      <a:lnTo>
                        <a:pt x="310838" y="0"/>
                      </a:lnTo>
                      <a:lnTo>
                        <a:pt x="339254" y="9921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829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2" name="Freeform: Shape 431">
                  <a:extLst>
                    <a:ext uri="{FF2B5EF4-FFF2-40B4-BE49-F238E27FC236}">
                      <a16:creationId xmlns:a16="http://schemas.microsoft.com/office/drawing/2014/main" id="{08B291D4-98F4-46B0-8FFE-72E1CB3DDCA1}"/>
                    </a:ext>
                  </a:extLst>
                </p:cNvPr>
                <p:cNvSpPr/>
                <p:nvPr/>
              </p:nvSpPr>
              <p:spPr>
                <a:xfrm>
                  <a:off x="8033608" y="2534032"/>
                  <a:ext cx="339544" cy="199671"/>
                </a:xfrm>
                <a:custGeom>
                  <a:avLst/>
                  <a:gdLst>
                    <a:gd name="connsiteX0" fmla="*/ 311128 w 339544"/>
                    <a:gd name="connsiteY0" fmla="*/ 199672 h 199671"/>
                    <a:gd name="connsiteX1" fmla="*/ 0 w 339544"/>
                    <a:gd name="connsiteY1" fmla="*/ 199672 h 199671"/>
                    <a:gd name="connsiteX2" fmla="*/ 28458 w 339544"/>
                    <a:gd name="connsiteY2" fmla="*/ 99211 h 199671"/>
                    <a:gd name="connsiteX3" fmla="*/ 0 w 339544"/>
                    <a:gd name="connsiteY3" fmla="*/ 0 h 199671"/>
                    <a:gd name="connsiteX4" fmla="*/ 311128 w 339544"/>
                    <a:gd name="connsiteY4" fmla="*/ 0 h 199671"/>
                    <a:gd name="connsiteX5" fmla="*/ 339545 w 339544"/>
                    <a:gd name="connsiteY5" fmla="*/ 99211 h 199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9544" h="199671">
                      <a:moveTo>
                        <a:pt x="311128" y="199672"/>
                      </a:moveTo>
                      <a:lnTo>
                        <a:pt x="0" y="199672"/>
                      </a:lnTo>
                      <a:lnTo>
                        <a:pt x="28458" y="99211"/>
                      </a:lnTo>
                      <a:lnTo>
                        <a:pt x="0" y="0"/>
                      </a:lnTo>
                      <a:lnTo>
                        <a:pt x="311128" y="0"/>
                      </a:lnTo>
                      <a:lnTo>
                        <a:pt x="339545" y="9921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829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433" name="Freeform: Shape 432">
                <a:extLst>
                  <a:ext uri="{FF2B5EF4-FFF2-40B4-BE49-F238E27FC236}">
                    <a16:creationId xmlns:a16="http://schemas.microsoft.com/office/drawing/2014/main" id="{A39DC414-DFF6-465A-8F99-E2E686F6C48B}"/>
                  </a:ext>
                </a:extLst>
              </p:cNvPr>
              <p:cNvSpPr/>
              <p:nvPr/>
            </p:nvSpPr>
            <p:spPr>
              <a:xfrm>
                <a:off x="7434044" y="2591456"/>
                <a:ext cx="136481" cy="88527"/>
              </a:xfrm>
              <a:custGeom>
                <a:avLst/>
                <a:gdLst>
                  <a:gd name="connsiteX0" fmla="*/ 73758 w 136481"/>
                  <a:gd name="connsiteY0" fmla="*/ 57554 h 88527"/>
                  <a:gd name="connsiteX1" fmla="*/ 53306 w 136481"/>
                  <a:gd name="connsiteY1" fmla="*/ 57554 h 88527"/>
                  <a:gd name="connsiteX2" fmla="*/ 42147 w 136481"/>
                  <a:gd name="connsiteY2" fmla="*/ 88528 h 88527"/>
                  <a:gd name="connsiteX3" fmla="*/ 0 w 136481"/>
                  <a:gd name="connsiteY3" fmla="*/ 88528 h 88527"/>
                  <a:gd name="connsiteX4" fmla="*/ 31735 w 136481"/>
                  <a:gd name="connsiteY4" fmla="*/ 0 h 88527"/>
                  <a:gd name="connsiteX5" fmla="*/ 73882 w 136481"/>
                  <a:gd name="connsiteY5" fmla="*/ 0 h 88527"/>
                  <a:gd name="connsiteX6" fmla="*/ 62723 w 136481"/>
                  <a:gd name="connsiteY6" fmla="*/ 30974 h 88527"/>
                  <a:gd name="connsiteX7" fmla="*/ 83175 w 136481"/>
                  <a:gd name="connsiteY7" fmla="*/ 30974 h 88527"/>
                  <a:gd name="connsiteX8" fmla="*/ 94334 w 136481"/>
                  <a:gd name="connsiteY8" fmla="*/ 0 h 88527"/>
                  <a:gd name="connsiteX9" fmla="*/ 136481 w 136481"/>
                  <a:gd name="connsiteY9" fmla="*/ 0 h 88527"/>
                  <a:gd name="connsiteX10" fmla="*/ 104746 w 136481"/>
                  <a:gd name="connsiteY10" fmla="*/ 88528 h 88527"/>
                  <a:gd name="connsiteX11" fmla="*/ 62599 w 136481"/>
                  <a:gd name="connsiteY11" fmla="*/ 88528 h 88527"/>
                  <a:gd name="connsiteX12" fmla="*/ 73758 w 136481"/>
                  <a:gd name="connsiteY12" fmla="*/ 57554 h 88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6481" h="88527">
                    <a:moveTo>
                      <a:pt x="73758" y="57554"/>
                    </a:moveTo>
                    <a:lnTo>
                      <a:pt x="53306" y="57554"/>
                    </a:lnTo>
                    <a:lnTo>
                      <a:pt x="42147" y="88528"/>
                    </a:lnTo>
                    <a:lnTo>
                      <a:pt x="0" y="88528"/>
                    </a:lnTo>
                    <a:lnTo>
                      <a:pt x="31735" y="0"/>
                    </a:lnTo>
                    <a:lnTo>
                      <a:pt x="73882" y="0"/>
                    </a:lnTo>
                    <a:lnTo>
                      <a:pt x="62723" y="30974"/>
                    </a:lnTo>
                    <a:lnTo>
                      <a:pt x="83175" y="30974"/>
                    </a:lnTo>
                    <a:lnTo>
                      <a:pt x="94334" y="0"/>
                    </a:lnTo>
                    <a:lnTo>
                      <a:pt x="136481" y="0"/>
                    </a:lnTo>
                    <a:lnTo>
                      <a:pt x="104746" y="88528"/>
                    </a:lnTo>
                    <a:lnTo>
                      <a:pt x="62599" y="88528"/>
                    </a:lnTo>
                    <a:lnTo>
                      <a:pt x="73758" y="57554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4" name="Freeform: Shape 433">
                <a:extLst>
                  <a:ext uri="{FF2B5EF4-FFF2-40B4-BE49-F238E27FC236}">
                    <a16:creationId xmlns:a16="http://schemas.microsoft.com/office/drawing/2014/main" id="{174D9087-C018-45B6-8540-12164B00703E}"/>
                  </a:ext>
                </a:extLst>
              </p:cNvPr>
              <p:cNvSpPr/>
              <p:nvPr/>
            </p:nvSpPr>
            <p:spPr>
              <a:xfrm>
                <a:off x="7807812" y="2591499"/>
                <a:ext cx="125736" cy="88527"/>
              </a:xfrm>
              <a:custGeom>
                <a:avLst/>
                <a:gdLst>
                  <a:gd name="connsiteX0" fmla="*/ 31777 w 125736"/>
                  <a:gd name="connsiteY0" fmla="*/ 0 h 88527"/>
                  <a:gd name="connsiteX1" fmla="*/ 99229 w 125736"/>
                  <a:gd name="connsiteY1" fmla="*/ 0 h 88527"/>
                  <a:gd name="connsiteX2" fmla="*/ 124410 w 125736"/>
                  <a:gd name="connsiteY2" fmla="*/ 26537 h 88527"/>
                  <a:gd name="connsiteX3" fmla="*/ 98482 w 125736"/>
                  <a:gd name="connsiteY3" fmla="*/ 44759 h 88527"/>
                  <a:gd name="connsiteX4" fmla="*/ 112794 w 125736"/>
                  <a:gd name="connsiteY4" fmla="*/ 70219 h 88527"/>
                  <a:gd name="connsiteX5" fmla="*/ 74380 w 125736"/>
                  <a:gd name="connsiteY5" fmla="*/ 88528 h 88527"/>
                  <a:gd name="connsiteX6" fmla="*/ 0 w 125736"/>
                  <a:gd name="connsiteY6" fmla="*/ 88528 h 88527"/>
                  <a:gd name="connsiteX7" fmla="*/ 31777 w 125736"/>
                  <a:gd name="connsiteY7" fmla="*/ 0 h 88527"/>
                  <a:gd name="connsiteX8" fmla="*/ 54800 w 125736"/>
                  <a:gd name="connsiteY8" fmla="*/ 53461 h 88527"/>
                  <a:gd name="connsiteX9" fmla="*/ 50818 w 125736"/>
                  <a:gd name="connsiteY9" fmla="*/ 64403 h 88527"/>
                  <a:gd name="connsiteX10" fmla="*/ 66208 w 125736"/>
                  <a:gd name="connsiteY10" fmla="*/ 64403 h 88527"/>
                  <a:gd name="connsiteX11" fmla="*/ 74338 w 125736"/>
                  <a:gd name="connsiteY11" fmla="*/ 60095 h 88527"/>
                  <a:gd name="connsiteX12" fmla="*/ 69485 w 125736"/>
                  <a:gd name="connsiteY12" fmla="*/ 53461 h 88527"/>
                  <a:gd name="connsiteX13" fmla="*/ 54800 w 125736"/>
                  <a:gd name="connsiteY13" fmla="*/ 53461 h 88527"/>
                  <a:gd name="connsiteX14" fmla="*/ 65337 w 125736"/>
                  <a:gd name="connsiteY14" fmla="*/ 24081 h 88527"/>
                  <a:gd name="connsiteX15" fmla="*/ 61562 w 125736"/>
                  <a:gd name="connsiteY15" fmla="*/ 34291 h 88527"/>
                  <a:gd name="connsiteX16" fmla="*/ 73301 w 125736"/>
                  <a:gd name="connsiteY16" fmla="*/ 34291 h 88527"/>
                  <a:gd name="connsiteX17" fmla="*/ 80935 w 125736"/>
                  <a:gd name="connsiteY17" fmla="*/ 29595 h 88527"/>
                  <a:gd name="connsiteX18" fmla="*/ 76952 w 125736"/>
                  <a:gd name="connsiteY18" fmla="*/ 24081 h 88527"/>
                  <a:gd name="connsiteX19" fmla="*/ 65337 w 125736"/>
                  <a:gd name="connsiteY19" fmla="*/ 24081 h 88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5736" h="88527">
                    <a:moveTo>
                      <a:pt x="31777" y="0"/>
                    </a:moveTo>
                    <a:lnTo>
                      <a:pt x="99229" y="0"/>
                    </a:lnTo>
                    <a:cubicBezTo>
                      <a:pt x="121879" y="0"/>
                      <a:pt x="129014" y="12924"/>
                      <a:pt x="124410" y="26537"/>
                    </a:cubicBezTo>
                    <a:cubicBezTo>
                      <a:pt x="120551" y="37608"/>
                      <a:pt x="111094" y="43639"/>
                      <a:pt x="98482" y="44759"/>
                    </a:cubicBezTo>
                    <a:cubicBezTo>
                      <a:pt x="111342" y="46612"/>
                      <a:pt x="117606" y="57037"/>
                      <a:pt x="112794" y="70219"/>
                    </a:cubicBezTo>
                    <a:cubicBezTo>
                      <a:pt x="108438" y="82497"/>
                      <a:pt x="98607" y="88528"/>
                      <a:pt x="74380" y="88528"/>
                    </a:cubicBezTo>
                    <a:lnTo>
                      <a:pt x="0" y="88528"/>
                    </a:lnTo>
                    <a:lnTo>
                      <a:pt x="31777" y="0"/>
                    </a:lnTo>
                    <a:close/>
                    <a:moveTo>
                      <a:pt x="54800" y="53461"/>
                    </a:moveTo>
                    <a:lnTo>
                      <a:pt x="50818" y="64403"/>
                    </a:lnTo>
                    <a:lnTo>
                      <a:pt x="66208" y="64403"/>
                    </a:lnTo>
                    <a:cubicBezTo>
                      <a:pt x="70439" y="64403"/>
                      <a:pt x="73094" y="63542"/>
                      <a:pt x="74338" y="60095"/>
                    </a:cubicBezTo>
                    <a:cubicBezTo>
                      <a:pt x="75666" y="56046"/>
                      <a:pt x="74712" y="53461"/>
                      <a:pt x="69485" y="53461"/>
                    </a:cubicBezTo>
                    <a:lnTo>
                      <a:pt x="54800" y="53461"/>
                    </a:lnTo>
                    <a:close/>
                    <a:moveTo>
                      <a:pt x="65337" y="24081"/>
                    </a:moveTo>
                    <a:lnTo>
                      <a:pt x="61562" y="34291"/>
                    </a:lnTo>
                    <a:lnTo>
                      <a:pt x="73301" y="34291"/>
                    </a:lnTo>
                    <a:cubicBezTo>
                      <a:pt x="78280" y="34291"/>
                      <a:pt x="79856" y="32568"/>
                      <a:pt x="80935" y="29595"/>
                    </a:cubicBezTo>
                    <a:cubicBezTo>
                      <a:pt x="82013" y="26795"/>
                      <a:pt x="81681" y="24081"/>
                      <a:pt x="76952" y="24081"/>
                    </a:cubicBezTo>
                    <a:lnTo>
                      <a:pt x="65337" y="24081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5" name="Freeform: Shape 434">
                <a:extLst>
                  <a:ext uri="{FF2B5EF4-FFF2-40B4-BE49-F238E27FC236}">
                    <a16:creationId xmlns:a16="http://schemas.microsoft.com/office/drawing/2014/main" id="{8412D1DE-6EBD-45F9-8586-45A8998F9EF9}"/>
                  </a:ext>
                </a:extLst>
              </p:cNvPr>
              <p:cNvSpPr/>
              <p:nvPr/>
            </p:nvSpPr>
            <p:spPr>
              <a:xfrm>
                <a:off x="8112800" y="2591499"/>
                <a:ext cx="181159" cy="88527"/>
              </a:xfrm>
              <a:custGeom>
                <a:avLst/>
                <a:gdLst>
                  <a:gd name="connsiteX0" fmla="*/ 57538 w 181159"/>
                  <a:gd name="connsiteY0" fmla="*/ 28518 h 88527"/>
                  <a:gd name="connsiteX1" fmla="*/ 36091 w 181159"/>
                  <a:gd name="connsiteY1" fmla="*/ 88528 h 88527"/>
                  <a:gd name="connsiteX2" fmla="*/ 0 w 181159"/>
                  <a:gd name="connsiteY2" fmla="*/ 88528 h 88527"/>
                  <a:gd name="connsiteX3" fmla="*/ 31735 w 181159"/>
                  <a:gd name="connsiteY3" fmla="*/ 0 h 88527"/>
                  <a:gd name="connsiteX4" fmla="*/ 78114 w 181159"/>
                  <a:gd name="connsiteY4" fmla="*/ 0 h 88527"/>
                  <a:gd name="connsiteX5" fmla="*/ 91430 w 181159"/>
                  <a:gd name="connsiteY5" fmla="*/ 16844 h 88527"/>
                  <a:gd name="connsiteX6" fmla="*/ 90227 w 181159"/>
                  <a:gd name="connsiteY6" fmla="*/ 43295 h 88527"/>
                  <a:gd name="connsiteX7" fmla="*/ 116611 w 181159"/>
                  <a:gd name="connsiteY7" fmla="*/ 0 h 88527"/>
                  <a:gd name="connsiteX8" fmla="*/ 181159 w 181159"/>
                  <a:gd name="connsiteY8" fmla="*/ 0 h 88527"/>
                  <a:gd name="connsiteX9" fmla="*/ 149548 w 181159"/>
                  <a:gd name="connsiteY9" fmla="*/ 88528 h 88527"/>
                  <a:gd name="connsiteX10" fmla="*/ 107028 w 181159"/>
                  <a:gd name="connsiteY10" fmla="*/ 88528 h 88527"/>
                  <a:gd name="connsiteX11" fmla="*/ 127977 w 181159"/>
                  <a:gd name="connsiteY11" fmla="*/ 30242 h 88527"/>
                  <a:gd name="connsiteX12" fmla="*/ 89688 w 181159"/>
                  <a:gd name="connsiteY12" fmla="*/ 88528 h 88527"/>
                  <a:gd name="connsiteX13" fmla="*/ 54551 w 181159"/>
                  <a:gd name="connsiteY13" fmla="*/ 88528 h 88527"/>
                  <a:gd name="connsiteX14" fmla="*/ 57538 w 181159"/>
                  <a:gd name="connsiteY14" fmla="*/ 28518 h 88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1159" h="88527">
                    <a:moveTo>
                      <a:pt x="57538" y="28518"/>
                    </a:moveTo>
                    <a:lnTo>
                      <a:pt x="36091" y="88528"/>
                    </a:lnTo>
                    <a:lnTo>
                      <a:pt x="0" y="88528"/>
                    </a:lnTo>
                    <a:lnTo>
                      <a:pt x="31735" y="0"/>
                    </a:lnTo>
                    <a:lnTo>
                      <a:pt x="78114" y="0"/>
                    </a:lnTo>
                    <a:cubicBezTo>
                      <a:pt x="88899" y="0"/>
                      <a:pt x="91803" y="6031"/>
                      <a:pt x="91430" y="16844"/>
                    </a:cubicBezTo>
                    <a:lnTo>
                      <a:pt x="90227" y="43295"/>
                    </a:lnTo>
                    <a:lnTo>
                      <a:pt x="116611" y="0"/>
                    </a:lnTo>
                    <a:lnTo>
                      <a:pt x="181159" y="0"/>
                    </a:lnTo>
                    <a:lnTo>
                      <a:pt x="149548" y="88528"/>
                    </a:lnTo>
                    <a:lnTo>
                      <a:pt x="107028" y="88528"/>
                    </a:lnTo>
                    <a:lnTo>
                      <a:pt x="127977" y="30242"/>
                    </a:lnTo>
                    <a:lnTo>
                      <a:pt x="89688" y="88528"/>
                    </a:lnTo>
                    <a:lnTo>
                      <a:pt x="54551" y="88528"/>
                    </a:lnTo>
                    <a:lnTo>
                      <a:pt x="57538" y="28518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6" name="Freeform: Shape 435">
                <a:extLst>
                  <a:ext uri="{FF2B5EF4-FFF2-40B4-BE49-F238E27FC236}">
                    <a16:creationId xmlns:a16="http://schemas.microsoft.com/office/drawing/2014/main" id="{892DB581-82C1-4AB6-8276-7611E3334D5D}"/>
                  </a:ext>
                </a:extLst>
              </p:cNvPr>
              <p:cNvSpPr/>
              <p:nvPr/>
            </p:nvSpPr>
            <p:spPr>
              <a:xfrm>
                <a:off x="8507850" y="2591499"/>
                <a:ext cx="92052" cy="88484"/>
              </a:xfrm>
              <a:custGeom>
                <a:avLst/>
                <a:gdLst>
                  <a:gd name="connsiteX0" fmla="*/ 31735 w 92052"/>
                  <a:gd name="connsiteY0" fmla="*/ 0 h 88484"/>
                  <a:gd name="connsiteX1" fmla="*/ 73883 w 92052"/>
                  <a:gd name="connsiteY1" fmla="*/ 0 h 88484"/>
                  <a:gd name="connsiteX2" fmla="*/ 51730 w 92052"/>
                  <a:gd name="connsiteY2" fmla="*/ 61948 h 88484"/>
                  <a:gd name="connsiteX3" fmla="*/ 92052 w 92052"/>
                  <a:gd name="connsiteY3" fmla="*/ 61948 h 88484"/>
                  <a:gd name="connsiteX4" fmla="*/ 82469 w 92052"/>
                  <a:gd name="connsiteY4" fmla="*/ 88485 h 88484"/>
                  <a:gd name="connsiteX5" fmla="*/ 0 w 92052"/>
                  <a:gd name="connsiteY5" fmla="*/ 88485 h 88484"/>
                  <a:gd name="connsiteX6" fmla="*/ 31735 w 92052"/>
                  <a:gd name="connsiteY6" fmla="*/ 0 h 8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052" h="88484">
                    <a:moveTo>
                      <a:pt x="31735" y="0"/>
                    </a:moveTo>
                    <a:lnTo>
                      <a:pt x="73883" y="0"/>
                    </a:lnTo>
                    <a:lnTo>
                      <a:pt x="51730" y="61948"/>
                    </a:lnTo>
                    <a:lnTo>
                      <a:pt x="92052" y="61948"/>
                    </a:lnTo>
                    <a:lnTo>
                      <a:pt x="82469" y="88485"/>
                    </a:lnTo>
                    <a:lnTo>
                      <a:pt x="0" y="88485"/>
                    </a:lnTo>
                    <a:lnTo>
                      <a:pt x="31735" y="0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437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7316935" y="2760025"/>
              <a:ext cx="1321256" cy="32094"/>
              <a:chOff x="7316935" y="2760025"/>
              <a:chExt cx="1321256" cy="32094"/>
            </a:xfrm>
            <a:solidFill>
              <a:srgbClr val="27509B"/>
            </a:solidFill>
          </p:grpSpPr>
          <p:grpSp>
            <p:nvGrpSpPr>
              <p:cNvPr id="438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7758156" y="2760456"/>
                <a:ext cx="175494" cy="31232"/>
                <a:chOff x="7758156" y="2760456"/>
                <a:chExt cx="175494" cy="31232"/>
              </a:xfrm>
              <a:solidFill>
                <a:srgbClr val="27509B"/>
              </a:solidFill>
            </p:grpSpPr>
            <p:sp>
              <p:nvSpPr>
                <p:cNvPr id="439" name="Freeform: Shape 438">
                  <a:extLst>
                    <a:ext uri="{FF2B5EF4-FFF2-40B4-BE49-F238E27FC236}">
                      <a16:creationId xmlns:a16="http://schemas.microsoft.com/office/drawing/2014/main" id="{15385760-F7A3-4D7B-B149-EE73F190E403}"/>
                    </a:ext>
                  </a:extLst>
                </p:cNvPr>
                <p:cNvSpPr/>
                <p:nvPr/>
              </p:nvSpPr>
              <p:spPr>
                <a:xfrm>
                  <a:off x="7758156" y="2760456"/>
                  <a:ext cx="43140" cy="30413"/>
                </a:xfrm>
                <a:custGeom>
                  <a:avLst/>
                  <a:gdLst>
                    <a:gd name="connsiteX0" fmla="*/ 10910 w 43140"/>
                    <a:gd name="connsiteY0" fmla="*/ 0 h 30413"/>
                    <a:gd name="connsiteX1" fmla="*/ 34058 w 43140"/>
                    <a:gd name="connsiteY1" fmla="*/ 0 h 30413"/>
                    <a:gd name="connsiteX2" fmla="*/ 42686 w 43140"/>
                    <a:gd name="connsiteY2" fmla="*/ 9133 h 30413"/>
                    <a:gd name="connsiteX3" fmla="*/ 33809 w 43140"/>
                    <a:gd name="connsiteY3" fmla="*/ 15379 h 30413"/>
                    <a:gd name="connsiteX4" fmla="*/ 38704 w 43140"/>
                    <a:gd name="connsiteY4" fmla="*/ 24124 h 30413"/>
                    <a:gd name="connsiteX5" fmla="*/ 25512 w 43140"/>
                    <a:gd name="connsiteY5" fmla="*/ 30414 h 30413"/>
                    <a:gd name="connsiteX6" fmla="*/ 0 w 43140"/>
                    <a:gd name="connsiteY6" fmla="*/ 30414 h 30413"/>
                    <a:gd name="connsiteX7" fmla="*/ 10910 w 43140"/>
                    <a:gd name="connsiteY7" fmla="*/ 0 h 30413"/>
                    <a:gd name="connsiteX8" fmla="*/ 18792 w 43140"/>
                    <a:gd name="connsiteY8" fmla="*/ 18352 h 30413"/>
                    <a:gd name="connsiteX9" fmla="*/ 17423 w 43140"/>
                    <a:gd name="connsiteY9" fmla="*/ 22100 h 30413"/>
                    <a:gd name="connsiteX10" fmla="*/ 22691 w 43140"/>
                    <a:gd name="connsiteY10" fmla="*/ 22100 h 30413"/>
                    <a:gd name="connsiteX11" fmla="*/ 25471 w 43140"/>
                    <a:gd name="connsiteY11" fmla="*/ 20635 h 30413"/>
                    <a:gd name="connsiteX12" fmla="*/ 23812 w 43140"/>
                    <a:gd name="connsiteY12" fmla="*/ 18352 h 30413"/>
                    <a:gd name="connsiteX13" fmla="*/ 18792 w 43140"/>
                    <a:gd name="connsiteY13" fmla="*/ 18352 h 30413"/>
                    <a:gd name="connsiteX14" fmla="*/ 22401 w 43140"/>
                    <a:gd name="connsiteY14" fmla="*/ 8271 h 30413"/>
                    <a:gd name="connsiteX15" fmla="*/ 21115 w 43140"/>
                    <a:gd name="connsiteY15" fmla="*/ 11761 h 30413"/>
                    <a:gd name="connsiteX16" fmla="*/ 25139 w 43140"/>
                    <a:gd name="connsiteY16" fmla="*/ 11761 h 30413"/>
                    <a:gd name="connsiteX17" fmla="*/ 27752 w 43140"/>
                    <a:gd name="connsiteY17" fmla="*/ 10167 h 30413"/>
                    <a:gd name="connsiteX18" fmla="*/ 26384 w 43140"/>
                    <a:gd name="connsiteY18" fmla="*/ 8271 h 30413"/>
                    <a:gd name="connsiteX19" fmla="*/ 22401 w 43140"/>
                    <a:gd name="connsiteY19" fmla="*/ 8271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43140" h="30413">
                      <a:moveTo>
                        <a:pt x="10910" y="0"/>
                      </a:moveTo>
                      <a:lnTo>
                        <a:pt x="34058" y="0"/>
                      </a:lnTo>
                      <a:cubicBezTo>
                        <a:pt x="41815" y="0"/>
                        <a:pt x="44263" y="4437"/>
                        <a:pt x="42686" y="9133"/>
                      </a:cubicBezTo>
                      <a:cubicBezTo>
                        <a:pt x="41359" y="12924"/>
                        <a:pt x="38123" y="14991"/>
                        <a:pt x="33809" y="15379"/>
                      </a:cubicBezTo>
                      <a:cubicBezTo>
                        <a:pt x="38206" y="16025"/>
                        <a:pt x="40364" y="19601"/>
                        <a:pt x="38704" y="24124"/>
                      </a:cubicBezTo>
                      <a:cubicBezTo>
                        <a:pt x="37211" y="28346"/>
                        <a:pt x="33850" y="30414"/>
                        <a:pt x="25512" y="30414"/>
                      </a:cubicBezTo>
                      <a:lnTo>
                        <a:pt x="0" y="30414"/>
                      </a:lnTo>
                      <a:lnTo>
                        <a:pt x="10910" y="0"/>
                      </a:lnTo>
                      <a:close/>
                      <a:moveTo>
                        <a:pt x="18792" y="18352"/>
                      </a:moveTo>
                      <a:lnTo>
                        <a:pt x="17423" y="22100"/>
                      </a:lnTo>
                      <a:lnTo>
                        <a:pt x="22691" y="22100"/>
                      </a:lnTo>
                      <a:cubicBezTo>
                        <a:pt x="24143" y="22100"/>
                        <a:pt x="25056" y="21798"/>
                        <a:pt x="25471" y="20635"/>
                      </a:cubicBezTo>
                      <a:cubicBezTo>
                        <a:pt x="25927" y="19256"/>
                        <a:pt x="25595" y="18352"/>
                        <a:pt x="23812" y="18352"/>
                      </a:cubicBezTo>
                      <a:lnTo>
                        <a:pt x="18792" y="18352"/>
                      </a:lnTo>
                      <a:close/>
                      <a:moveTo>
                        <a:pt x="22401" y="8271"/>
                      </a:moveTo>
                      <a:lnTo>
                        <a:pt x="21115" y="11761"/>
                      </a:lnTo>
                      <a:lnTo>
                        <a:pt x="25139" y="11761"/>
                      </a:lnTo>
                      <a:cubicBezTo>
                        <a:pt x="26840" y="11761"/>
                        <a:pt x="27379" y="11157"/>
                        <a:pt x="27752" y="10167"/>
                      </a:cubicBezTo>
                      <a:cubicBezTo>
                        <a:pt x="28126" y="9176"/>
                        <a:pt x="28002" y="8271"/>
                        <a:pt x="26384" y="8271"/>
                      </a:cubicBezTo>
                      <a:lnTo>
                        <a:pt x="22401" y="82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0" name="Freeform: Shape 439">
                  <a:extLst>
                    <a:ext uri="{FF2B5EF4-FFF2-40B4-BE49-F238E27FC236}">
                      <a16:creationId xmlns:a16="http://schemas.microsoft.com/office/drawing/2014/main" id="{1DBA9960-790F-454A-A906-7E1A75C4B1EB}"/>
                    </a:ext>
                  </a:extLst>
                </p:cNvPr>
                <p:cNvSpPr/>
                <p:nvPr/>
              </p:nvSpPr>
              <p:spPr>
                <a:xfrm>
                  <a:off x="7800494" y="2760456"/>
                  <a:ext cx="43118" cy="31232"/>
                </a:xfrm>
                <a:custGeom>
                  <a:avLst/>
                  <a:gdLst>
                    <a:gd name="connsiteX0" fmla="*/ 36937 w 43118"/>
                    <a:gd name="connsiteY0" fmla="*/ 17318 h 31232"/>
                    <a:gd name="connsiteX1" fmla="*/ 15200 w 43118"/>
                    <a:gd name="connsiteY1" fmla="*/ 31232 h 31232"/>
                    <a:gd name="connsiteX2" fmla="*/ 929 w 43118"/>
                    <a:gd name="connsiteY2" fmla="*/ 17232 h 31232"/>
                    <a:gd name="connsiteX3" fmla="*/ 7152 w 43118"/>
                    <a:gd name="connsiteY3" fmla="*/ 0 h 31232"/>
                    <a:gd name="connsiteX4" fmla="*/ 21630 w 43118"/>
                    <a:gd name="connsiteY4" fmla="*/ 0 h 31232"/>
                    <a:gd name="connsiteX5" fmla="*/ 15282 w 43118"/>
                    <a:gd name="connsiteY5" fmla="*/ 17749 h 31232"/>
                    <a:gd name="connsiteX6" fmla="*/ 17564 w 43118"/>
                    <a:gd name="connsiteY6" fmla="*/ 22100 h 31232"/>
                    <a:gd name="connsiteX7" fmla="*/ 22293 w 43118"/>
                    <a:gd name="connsiteY7" fmla="*/ 17792 h 31232"/>
                    <a:gd name="connsiteX8" fmla="*/ 28641 w 43118"/>
                    <a:gd name="connsiteY8" fmla="*/ 0 h 31232"/>
                    <a:gd name="connsiteX9" fmla="*/ 43118 w 43118"/>
                    <a:gd name="connsiteY9" fmla="*/ 0 h 31232"/>
                    <a:gd name="connsiteX10" fmla="*/ 36937 w 43118"/>
                    <a:gd name="connsiteY10" fmla="*/ 17318 h 31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3118" h="31232">
                      <a:moveTo>
                        <a:pt x="36937" y="17318"/>
                      </a:moveTo>
                      <a:cubicBezTo>
                        <a:pt x="33162" y="27915"/>
                        <a:pt x="27064" y="31232"/>
                        <a:pt x="15200" y="31232"/>
                      </a:cubicBezTo>
                      <a:cubicBezTo>
                        <a:pt x="2506" y="31232"/>
                        <a:pt x="-2182" y="25891"/>
                        <a:pt x="929" y="17232"/>
                      </a:cubicBezTo>
                      <a:lnTo>
                        <a:pt x="7152" y="0"/>
                      </a:lnTo>
                      <a:lnTo>
                        <a:pt x="21630" y="0"/>
                      </a:lnTo>
                      <a:lnTo>
                        <a:pt x="15282" y="17749"/>
                      </a:lnTo>
                      <a:cubicBezTo>
                        <a:pt x="14163" y="20807"/>
                        <a:pt x="15200" y="22100"/>
                        <a:pt x="17564" y="22100"/>
                      </a:cubicBezTo>
                      <a:cubicBezTo>
                        <a:pt x="19514" y="22100"/>
                        <a:pt x="21007" y="21324"/>
                        <a:pt x="22293" y="17792"/>
                      </a:cubicBezTo>
                      <a:lnTo>
                        <a:pt x="28641" y="0"/>
                      </a:lnTo>
                      <a:lnTo>
                        <a:pt x="43118" y="0"/>
                      </a:lnTo>
                      <a:lnTo>
                        <a:pt x="36937" y="17318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1" name="Freeform: Shape 440">
                  <a:extLst>
                    <a:ext uri="{FF2B5EF4-FFF2-40B4-BE49-F238E27FC236}">
                      <a16:creationId xmlns:a16="http://schemas.microsoft.com/office/drawing/2014/main" id="{EF2603A6-C2CE-4E6E-9584-58CABE5C2705}"/>
                    </a:ext>
                  </a:extLst>
                </p:cNvPr>
                <p:cNvSpPr/>
                <p:nvPr/>
              </p:nvSpPr>
              <p:spPr>
                <a:xfrm>
                  <a:off x="7837722" y="2760456"/>
                  <a:ext cx="25346" cy="30370"/>
                </a:xfrm>
                <a:custGeom>
                  <a:avLst/>
                  <a:gdLst>
                    <a:gd name="connsiteX0" fmla="*/ 0 w 25346"/>
                    <a:gd name="connsiteY0" fmla="*/ 30371 h 30370"/>
                    <a:gd name="connsiteX1" fmla="*/ 10869 w 25346"/>
                    <a:gd name="connsiteY1" fmla="*/ 0 h 30370"/>
                    <a:gd name="connsiteX2" fmla="*/ 25346 w 25346"/>
                    <a:gd name="connsiteY2" fmla="*/ 0 h 30370"/>
                    <a:gd name="connsiteX3" fmla="*/ 14478 w 25346"/>
                    <a:gd name="connsiteY3" fmla="*/ 30371 h 30370"/>
                    <a:gd name="connsiteX4" fmla="*/ 0 w 25346"/>
                    <a:gd name="connsiteY4" fmla="*/ 303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346" h="30370">
                      <a:moveTo>
                        <a:pt x="0" y="30371"/>
                      </a:moveTo>
                      <a:lnTo>
                        <a:pt x="10869" y="0"/>
                      </a:lnTo>
                      <a:lnTo>
                        <a:pt x="25346" y="0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2" name="Freeform: Shape 441">
                  <a:extLst>
                    <a:ext uri="{FF2B5EF4-FFF2-40B4-BE49-F238E27FC236}">
                      <a16:creationId xmlns:a16="http://schemas.microsoft.com/office/drawing/2014/main" id="{FE45E179-A8EB-49B8-B93D-BFBAADD21B6F}"/>
                    </a:ext>
                  </a:extLst>
                </p:cNvPr>
                <p:cNvSpPr/>
                <p:nvPr/>
              </p:nvSpPr>
              <p:spPr>
                <a:xfrm>
                  <a:off x="7858049" y="2760456"/>
                  <a:ext cx="31569" cy="30370"/>
                </a:xfrm>
                <a:custGeom>
                  <a:avLst/>
                  <a:gdLst>
                    <a:gd name="connsiteX0" fmla="*/ 10827 w 31569"/>
                    <a:gd name="connsiteY0" fmla="*/ 0 h 30370"/>
                    <a:gd name="connsiteX1" fmla="*/ 25305 w 31569"/>
                    <a:gd name="connsiteY1" fmla="*/ 0 h 30370"/>
                    <a:gd name="connsiteX2" fmla="*/ 17714 w 31569"/>
                    <a:gd name="connsiteY2" fmla="*/ 21281 h 30370"/>
                    <a:gd name="connsiteX3" fmla="*/ 31569 w 31569"/>
                    <a:gd name="connsiteY3" fmla="*/ 21281 h 30370"/>
                    <a:gd name="connsiteX4" fmla="*/ 28292 w 31569"/>
                    <a:gd name="connsiteY4" fmla="*/ 30371 h 30370"/>
                    <a:gd name="connsiteX5" fmla="*/ 0 w 31569"/>
                    <a:gd name="connsiteY5" fmla="*/ 30371 h 30370"/>
                    <a:gd name="connsiteX6" fmla="*/ 10827 w 31569"/>
                    <a:gd name="connsiteY6" fmla="*/ 0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569" h="30370">
                      <a:moveTo>
                        <a:pt x="10827" y="0"/>
                      </a:moveTo>
                      <a:lnTo>
                        <a:pt x="25305" y="0"/>
                      </a:lnTo>
                      <a:lnTo>
                        <a:pt x="17714" y="21281"/>
                      </a:lnTo>
                      <a:lnTo>
                        <a:pt x="31569" y="21281"/>
                      </a:lnTo>
                      <a:lnTo>
                        <a:pt x="28292" y="30371"/>
                      </a:lnTo>
                      <a:lnTo>
                        <a:pt x="0" y="30371"/>
                      </a:lnTo>
                      <a:lnTo>
                        <a:pt x="10827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3" name="Freeform: Shape 442">
                  <a:extLst>
                    <a:ext uri="{FF2B5EF4-FFF2-40B4-BE49-F238E27FC236}">
                      <a16:creationId xmlns:a16="http://schemas.microsoft.com/office/drawing/2014/main" id="{D9C25144-8155-44CC-8AB0-3DEBAE153867}"/>
                    </a:ext>
                  </a:extLst>
                </p:cNvPr>
                <p:cNvSpPr/>
                <p:nvPr/>
              </p:nvSpPr>
              <p:spPr>
                <a:xfrm>
                  <a:off x="7890489" y="2760456"/>
                  <a:ext cx="43161" cy="30370"/>
                </a:xfrm>
                <a:custGeom>
                  <a:avLst/>
                  <a:gdLst>
                    <a:gd name="connsiteX0" fmla="*/ 10869 w 43161"/>
                    <a:gd name="connsiteY0" fmla="*/ 0 h 30370"/>
                    <a:gd name="connsiteX1" fmla="*/ 26260 w 43161"/>
                    <a:gd name="connsiteY1" fmla="*/ 0 h 30370"/>
                    <a:gd name="connsiteX2" fmla="*/ 41816 w 43161"/>
                    <a:gd name="connsiteY2" fmla="*/ 17490 h 30370"/>
                    <a:gd name="connsiteX3" fmla="*/ 20700 w 43161"/>
                    <a:gd name="connsiteY3" fmla="*/ 30371 h 30370"/>
                    <a:gd name="connsiteX4" fmla="*/ 0 w 43161"/>
                    <a:gd name="connsiteY4" fmla="*/ 30371 h 30370"/>
                    <a:gd name="connsiteX5" fmla="*/ 10869 w 43161"/>
                    <a:gd name="connsiteY5" fmla="*/ 0 h 30370"/>
                    <a:gd name="connsiteX6" fmla="*/ 22194 w 43161"/>
                    <a:gd name="connsiteY6" fmla="*/ 8702 h 30370"/>
                    <a:gd name="connsiteX7" fmla="*/ 17548 w 43161"/>
                    <a:gd name="connsiteY7" fmla="*/ 21712 h 30370"/>
                    <a:gd name="connsiteX8" fmla="*/ 20700 w 43161"/>
                    <a:gd name="connsiteY8" fmla="*/ 21712 h 30370"/>
                    <a:gd name="connsiteX9" fmla="*/ 28002 w 43161"/>
                    <a:gd name="connsiteY9" fmla="*/ 15465 h 30370"/>
                    <a:gd name="connsiteX10" fmla="*/ 25056 w 43161"/>
                    <a:gd name="connsiteY10" fmla="*/ 8702 h 30370"/>
                    <a:gd name="connsiteX11" fmla="*/ 22194 w 43161"/>
                    <a:gd name="connsiteY11" fmla="*/ 8702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3161" h="30370">
                      <a:moveTo>
                        <a:pt x="10869" y="0"/>
                      </a:moveTo>
                      <a:lnTo>
                        <a:pt x="26260" y="0"/>
                      </a:lnTo>
                      <a:cubicBezTo>
                        <a:pt x="42272" y="0"/>
                        <a:pt x="45425" y="7280"/>
                        <a:pt x="41816" y="17490"/>
                      </a:cubicBezTo>
                      <a:cubicBezTo>
                        <a:pt x="38290" y="27355"/>
                        <a:pt x="30615" y="30371"/>
                        <a:pt x="20700" y="30371"/>
                      </a:cubicBezTo>
                      <a:lnTo>
                        <a:pt x="0" y="30371"/>
                      </a:lnTo>
                      <a:lnTo>
                        <a:pt x="10869" y="0"/>
                      </a:lnTo>
                      <a:close/>
                      <a:moveTo>
                        <a:pt x="22194" y="8702"/>
                      </a:moveTo>
                      <a:lnTo>
                        <a:pt x="17548" y="21712"/>
                      </a:lnTo>
                      <a:lnTo>
                        <a:pt x="20700" y="21712"/>
                      </a:lnTo>
                      <a:cubicBezTo>
                        <a:pt x="24310" y="21712"/>
                        <a:pt x="26384" y="20161"/>
                        <a:pt x="28002" y="15465"/>
                      </a:cubicBezTo>
                      <a:cubicBezTo>
                        <a:pt x="29619" y="10813"/>
                        <a:pt x="29122" y="8702"/>
                        <a:pt x="25056" y="8702"/>
                      </a:cubicBezTo>
                      <a:lnTo>
                        <a:pt x="22194" y="8702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44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8046883" y="2760025"/>
                <a:ext cx="289929" cy="32094"/>
                <a:chOff x="8046883" y="2760025"/>
                <a:chExt cx="289929" cy="32094"/>
              </a:xfrm>
              <a:solidFill>
                <a:srgbClr val="27509B"/>
              </a:solidFill>
            </p:grpSpPr>
            <p:sp>
              <p:nvSpPr>
                <p:cNvPr id="445" name="Freeform: Shape 444">
                  <a:extLst>
                    <a:ext uri="{FF2B5EF4-FFF2-40B4-BE49-F238E27FC236}">
                      <a16:creationId xmlns:a16="http://schemas.microsoft.com/office/drawing/2014/main" id="{A29E66F8-C996-4B0B-A63B-6FB5C032EF3C}"/>
                    </a:ext>
                  </a:extLst>
                </p:cNvPr>
                <p:cNvSpPr/>
                <p:nvPr/>
              </p:nvSpPr>
              <p:spPr>
                <a:xfrm>
                  <a:off x="8046883" y="2760844"/>
                  <a:ext cx="62184" cy="30413"/>
                </a:xfrm>
                <a:custGeom>
                  <a:avLst/>
                  <a:gdLst>
                    <a:gd name="connsiteX0" fmla="*/ 19746 w 62184"/>
                    <a:gd name="connsiteY0" fmla="*/ 9822 h 30413"/>
                    <a:gd name="connsiteX1" fmla="*/ 12404 w 62184"/>
                    <a:gd name="connsiteY1" fmla="*/ 30414 h 30413"/>
                    <a:gd name="connsiteX2" fmla="*/ 0 w 62184"/>
                    <a:gd name="connsiteY2" fmla="*/ 30414 h 30413"/>
                    <a:gd name="connsiteX3" fmla="*/ 10910 w 62184"/>
                    <a:gd name="connsiteY3" fmla="*/ 43 h 30413"/>
                    <a:gd name="connsiteX4" fmla="*/ 26840 w 62184"/>
                    <a:gd name="connsiteY4" fmla="*/ 43 h 30413"/>
                    <a:gd name="connsiteX5" fmla="*/ 31403 w 62184"/>
                    <a:gd name="connsiteY5" fmla="*/ 5816 h 30413"/>
                    <a:gd name="connsiteX6" fmla="*/ 30988 w 62184"/>
                    <a:gd name="connsiteY6" fmla="*/ 14862 h 30413"/>
                    <a:gd name="connsiteX7" fmla="*/ 40032 w 62184"/>
                    <a:gd name="connsiteY7" fmla="*/ 0 h 30413"/>
                    <a:gd name="connsiteX8" fmla="*/ 62184 w 62184"/>
                    <a:gd name="connsiteY8" fmla="*/ 0 h 30413"/>
                    <a:gd name="connsiteX9" fmla="*/ 51357 w 62184"/>
                    <a:gd name="connsiteY9" fmla="*/ 30371 h 30413"/>
                    <a:gd name="connsiteX10" fmla="*/ 36755 w 62184"/>
                    <a:gd name="connsiteY10" fmla="*/ 30371 h 30413"/>
                    <a:gd name="connsiteX11" fmla="*/ 43931 w 62184"/>
                    <a:gd name="connsiteY11" fmla="*/ 10382 h 30413"/>
                    <a:gd name="connsiteX12" fmla="*/ 30781 w 62184"/>
                    <a:gd name="connsiteY12" fmla="*/ 30371 h 30413"/>
                    <a:gd name="connsiteX13" fmla="*/ 18751 w 62184"/>
                    <a:gd name="connsiteY13" fmla="*/ 30371 h 30413"/>
                    <a:gd name="connsiteX14" fmla="*/ 19746 w 62184"/>
                    <a:gd name="connsiteY14" fmla="*/ 9822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184" h="30413">
                      <a:moveTo>
                        <a:pt x="19746" y="9822"/>
                      </a:moveTo>
                      <a:lnTo>
                        <a:pt x="12404" y="30414"/>
                      </a:lnTo>
                      <a:lnTo>
                        <a:pt x="0" y="30414"/>
                      </a:lnTo>
                      <a:lnTo>
                        <a:pt x="10910" y="43"/>
                      </a:lnTo>
                      <a:lnTo>
                        <a:pt x="26840" y="43"/>
                      </a:lnTo>
                      <a:cubicBezTo>
                        <a:pt x="30532" y="43"/>
                        <a:pt x="31528" y="2111"/>
                        <a:pt x="31403" y="5816"/>
                      </a:cubicBezTo>
                      <a:lnTo>
                        <a:pt x="30988" y="14862"/>
                      </a:lnTo>
                      <a:lnTo>
                        <a:pt x="40032" y="0"/>
                      </a:lnTo>
                      <a:lnTo>
                        <a:pt x="62184" y="0"/>
                      </a:lnTo>
                      <a:lnTo>
                        <a:pt x="51357" y="30371"/>
                      </a:lnTo>
                      <a:lnTo>
                        <a:pt x="36755" y="30371"/>
                      </a:lnTo>
                      <a:lnTo>
                        <a:pt x="43931" y="10382"/>
                      </a:lnTo>
                      <a:lnTo>
                        <a:pt x="30781" y="30371"/>
                      </a:lnTo>
                      <a:lnTo>
                        <a:pt x="18751" y="30371"/>
                      </a:lnTo>
                      <a:lnTo>
                        <a:pt x="19746" y="9822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6" name="Freeform: Shape 445">
                  <a:extLst>
                    <a:ext uri="{FF2B5EF4-FFF2-40B4-BE49-F238E27FC236}">
                      <a16:creationId xmlns:a16="http://schemas.microsoft.com/office/drawing/2014/main" id="{F304109F-D2A6-441A-9881-C649FD967A29}"/>
                    </a:ext>
                  </a:extLst>
                </p:cNvPr>
                <p:cNvSpPr/>
                <p:nvPr/>
              </p:nvSpPr>
              <p:spPr>
                <a:xfrm>
                  <a:off x="8104088" y="2760887"/>
                  <a:ext cx="41318" cy="30413"/>
                </a:xfrm>
                <a:custGeom>
                  <a:avLst/>
                  <a:gdLst>
                    <a:gd name="connsiteX0" fmla="*/ 10869 w 41318"/>
                    <a:gd name="connsiteY0" fmla="*/ 0 h 30413"/>
                    <a:gd name="connsiteX1" fmla="*/ 41318 w 41318"/>
                    <a:gd name="connsiteY1" fmla="*/ 0 h 30413"/>
                    <a:gd name="connsiteX2" fmla="*/ 38372 w 41318"/>
                    <a:gd name="connsiteY2" fmla="*/ 8271 h 30413"/>
                    <a:gd name="connsiteX3" fmla="*/ 22360 w 41318"/>
                    <a:gd name="connsiteY3" fmla="*/ 8271 h 30413"/>
                    <a:gd name="connsiteX4" fmla="*/ 21364 w 41318"/>
                    <a:gd name="connsiteY4" fmla="*/ 11028 h 30413"/>
                    <a:gd name="connsiteX5" fmla="*/ 35800 w 41318"/>
                    <a:gd name="connsiteY5" fmla="*/ 11028 h 30413"/>
                    <a:gd name="connsiteX6" fmla="*/ 32772 w 41318"/>
                    <a:gd name="connsiteY6" fmla="*/ 19299 h 30413"/>
                    <a:gd name="connsiteX7" fmla="*/ 18419 w 41318"/>
                    <a:gd name="connsiteY7" fmla="*/ 19299 h 30413"/>
                    <a:gd name="connsiteX8" fmla="*/ 17382 w 41318"/>
                    <a:gd name="connsiteY8" fmla="*/ 22143 h 30413"/>
                    <a:gd name="connsiteX9" fmla="*/ 33395 w 41318"/>
                    <a:gd name="connsiteY9" fmla="*/ 22143 h 30413"/>
                    <a:gd name="connsiteX10" fmla="*/ 30449 w 41318"/>
                    <a:gd name="connsiteY10" fmla="*/ 30414 h 30413"/>
                    <a:gd name="connsiteX11" fmla="*/ 0 w 41318"/>
                    <a:gd name="connsiteY11" fmla="*/ 30414 h 30413"/>
                    <a:gd name="connsiteX12" fmla="*/ 10869 w 41318"/>
                    <a:gd name="connsiteY12" fmla="*/ 0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318" h="30413">
                      <a:moveTo>
                        <a:pt x="10869" y="0"/>
                      </a:moveTo>
                      <a:lnTo>
                        <a:pt x="41318" y="0"/>
                      </a:lnTo>
                      <a:lnTo>
                        <a:pt x="38372" y="8271"/>
                      </a:lnTo>
                      <a:lnTo>
                        <a:pt x="22360" y="8271"/>
                      </a:lnTo>
                      <a:lnTo>
                        <a:pt x="21364" y="11028"/>
                      </a:lnTo>
                      <a:lnTo>
                        <a:pt x="35800" y="11028"/>
                      </a:lnTo>
                      <a:lnTo>
                        <a:pt x="32772" y="19299"/>
                      </a:lnTo>
                      <a:lnTo>
                        <a:pt x="18419" y="19299"/>
                      </a:lnTo>
                      <a:lnTo>
                        <a:pt x="17382" y="22143"/>
                      </a:lnTo>
                      <a:lnTo>
                        <a:pt x="33395" y="22143"/>
                      </a:lnTo>
                      <a:lnTo>
                        <a:pt x="30449" y="30414"/>
                      </a:lnTo>
                      <a:lnTo>
                        <a:pt x="0" y="30414"/>
                      </a:lnTo>
                      <a:lnTo>
                        <a:pt x="10869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7" name="Freeform: Shape 446">
                  <a:extLst>
                    <a:ext uri="{FF2B5EF4-FFF2-40B4-BE49-F238E27FC236}">
                      <a16:creationId xmlns:a16="http://schemas.microsoft.com/office/drawing/2014/main" id="{E6BB83C8-54C3-43FA-B98C-8397CFC41EB1}"/>
                    </a:ext>
                  </a:extLst>
                </p:cNvPr>
                <p:cNvSpPr/>
                <p:nvPr/>
              </p:nvSpPr>
              <p:spPr>
                <a:xfrm>
                  <a:off x="8137442" y="2760887"/>
                  <a:ext cx="42437" cy="30370"/>
                </a:xfrm>
                <a:custGeom>
                  <a:avLst/>
                  <a:gdLst>
                    <a:gd name="connsiteX0" fmla="*/ 28375 w 42437"/>
                    <a:gd name="connsiteY0" fmla="*/ 26063 h 30370"/>
                    <a:gd name="connsiteX1" fmla="*/ 17506 w 42437"/>
                    <a:gd name="connsiteY1" fmla="*/ 26063 h 30370"/>
                    <a:gd name="connsiteX2" fmla="*/ 14851 w 42437"/>
                    <a:gd name="connsiteY2" fmla="*/ 30371 h 30370"/>
                    <a:gd name="connsiteX3" fmla="*/ 0 w 42437"/>
                    <a:gd name="connsiteY3" fmla="*/ 30371 h 30370"/>
                    <a:gd name="connsiteX4" fmla="*/ 17382 w 42437"/>
                    <a:gd name="connsiteY4" fmla="*/ 4696 h 30370"/>
                    <a:gd name="connsiteX5" fmla="*/ 25430 w 42437"/>
                    <a:gd name="connsiteY5" fmla="*/ 0 h 30370"/>
                    <a:gd name="connsiteX6" fmla="*/ 42438 w 42437"/>
                    <a:gd name="connsiteY6" fmla="*/ 0 h 30370"/>
                    <a:gd name="connsiteX7" fmla="*/ 41608 w 42437"/>
                    <a:gd name="connsiteY7" fmla="*/ 30371 h 30370"/>
                    <a:gd name="connsiteX8" fmla="*/ 28126 w 42437"/>
                    <a:gd name="connsiteY8" fmla="*/ 30371 h 30370"/>
                    <a:gd name="connsiteX9" fmla="*/ 28375 w 42437"/>
                    <a:gd name="connsiteY9" fmla="*/ 26063 h 30370"/>
                    <a:gd name="connsiteX10" fmla="*/ 29412 w 42437"/>
                    <a:gd name="connsiteY10" fmla="*/ 6979 h 30370"/>
                    <a:gd name="connsiteX11" fmla="*/ 22941 w 42437"/>
                    <a:gd name="connsiteY11" fmla="*/ 17404 h 30370"/>
                    <a:gd name="connsiteX12" fmla="*/ 28831 w 42437"/>
                    <a:gd name="connsiteY12" fmla="*/ 17404 h 30370"/>
                    <a:gd name="connsiteX13" fmla="*/ 29412 w 42437"/>
                    <a:gd name="connsiteY13" fmla="*/ 6979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2437" h="30370">
                      <a:moveTo>
                        <a:pt x="28375" y="26063"/>
                      </a:moveTo>
                      <a:lnTo>
                        <a:pt x="17506" y="26063"/>
                      </a:lnTo>
                      <a:lnTo>
                        <a:pt x="14851" y="30371"/>
                      </a:lnTo>
                      <a:lnTo>
                        <a:pt x="0" y="30371"/>
                      </a:lnTo>
                      <a:lnTo>
                        <a:pt x="17382" y="4696"/>
                      </a:lnTo>
                      <a:cubicBezTo>
                        <a:pt x="19663" y="1335"/>
                        <a:pt x="21904" y="0"/>
                        <a:pt x="25430" y="0"/>
                      </a:cubicBezTo>
                      <a:lnTo>
                        <a:pt x="42438" y="0"/>
                      </a:lnTo>
                      <a:lnTo>
                        <a:pt x="41608" y="30371"/>
                      </a:lnTo>
                      <a:lnTo>
                        <a:pt x="28126" y="30371"/>
                      </a:lnTo>
                      <a:lnTo>
                        <a:pt x="28375" y="26063"/>
                      </a:lnTo>
                      <a:close/>
                      <a:moveTo>
                        <a:pt x="29412" y="6979"/>
                      </a:moveTo>
                      <a:lnTo>
                        <a:pt x="22941" y="17404"/>
                      </a:lnTo>
                      <a:lnTo>
                        <a:pt x="28831" y="17404"/>
                      </a:lnTo>
                      <a:lnTo>
                        <a:pt x="29412" y="6979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8" name="Freeform: Shape 447">
                  <a:extLst>
                    <a:ext uri="{FF2B5EF4-FFF2-40B4-BE49-F238E27FC236}">
                      <a16:creationId xmlns:a16="http://schemas.microsoft.com/office/drawing/2014/main" id="{06163161-F605-4FE7-B10F-719CF78DAB85}"/>
                    </a:ext>
                  </a:extLst>
                </p:cNvPr>
                <p:cNvSpPr/>
                <p:nvPr/>
              </p:nvSpPr>
              <p:spPr>
                <a:xfrm>
                  <a:off x="8181705" y="2760025"/>
                  <a:ext cx="38206" cy="32052"/>
                </a:xfrm>
                <a:custGeom>
                  <a:avLst/>
                  <a:gdLst>
                    <a:gd name="connsiteX0" fmla="*/ 0 w 38206"/>
                    <a:gd name="connsiteY0" fmla="*/ 29811 h 32052"/>
                    <a:gd name="connsiteX1" fmla="*/ 2945 w 38206"/>
                    <a:gd name="connsiteY1" fmla="*/ 21669 h 32052"/>
                    <a:gd name="connsiteX2" fmla="*/ 13689 w 38206"/>
                    <a:gd name="connsiteY2" fmla="*/ 23650 h 32052"/>
                    <a:gd name="connsiteX3" fmla="*/ 19249 w 38206"/>
                    <a:gd name="connsiteY3" fmla="*/ 22272 h 32052"/>
                    <a:gd name="connsiteX4" fmla="*/ 18335 w 38206"/>
                    <a:gd name="connsiteY4" fmla="*/ 20549 h 32052"/>
                    <a:gd name="connsiteX5" fmla="*/ 14187 w 38206"/>
                    <a:gd name="connsiteY5" fmla="*/ 19903 h 32052"/>
                    <a:gd name="connsiteX6" fmla="*/ 6388 w 38206"/>
                    <a:gd name="connsiteY6" fmla="*/ 8831 h 32052"/>
                    <a:gd name="connsiteX7" fmla="*/ 24226 w 38206"/>
                    <a:gd name="connsiteY7" fmla="*/ 0 h 32052"/>
                    <a:gd name="connsiteX8" fmla="*/ 38206 w 38206"/>
                    <a:gd name="connsiteY8" fmla="*/ 2154 h 32052"/>
                    <a:gd name="connsiteX9" fmla="*/ 35303 w 38206"/>
                    <a:gd name="connsiteY9" fmla="*/ 10296 h 32052"/>
                    <a:gd name="connsiteX10" fmla="*/ 24932 w 38206"/>
                    <a:gd name="connsiteY10" fmla="*/ 8443 h 32052"/>
                    <a:gd name="connsiteX11" fmla="*/ 20286 w 38206"/>
                    <a:gd name="connsiteY11" fmla="*/ 9650 h 32052"/>
                    <a:gd name="connsiteX12" fmla="*/ 21115 w 38206"/>
                    <a:gd name="connsiteY12" fmla="*/ 11114 h 32052"/>
                    <a:gd name="connsiteX13" fmla="*/ 25263 w 38206"/>
                    <a:gd name="connsiteY13" fmla="*/ 11761 h 32052"/>
                    <a:gd name="connsiteX14" fmla="*/ 33021 w 38206"/>
                    <a:gd name="connsiteY14" fmla="*/ 23349 h 32052"/>
                    <a:gd name="connsiteX15" fmla="*/ 15349 w 38206"/>
                    <a:gd name="connsiteY15" fmla="*/ 32051 h 32052"/>
                    <a:gd name="connsiteX16" fmla="*/ 0 w 38206"/>
                    <a:gd name="connsiteY16" fmla="*/ 29811 h 320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8206" h="32052">
                      <a:moveTo>
                        <a:pt x="0" y="29811"/>
                      </a:moveTo>
                      <a:lnTo>
                        <a:pt x="2945" y="21669"/>
                      </a:lnTo>
                      <a:cubicBezTo>
                        <a:pt x="5476" y="22703"/>
                        <a:pt x="10122" y="23650"/>
                        <a:pt x="13689" y="23650"/>
                      </a:cubicBezTo>
                      <a:cubicBezTo>
                        <a:pt x="17589" y="23650"/>
                        <a:pt x="18709" y="23435"/>
                        <a:pt x="19249" y="22272"/>
                      </a:cubicBezTo>
                      <a:cubicBezTo>
                        <a:pt x="19705" y="21195"/>
                        <a:pt x="19124" y="20678"/>
                        <a:pt x="18335" y="20549"/>
                      </a:cubicBezTo>
                      <a:lnTo>
                        <a:pt x="14187" y="19903"/>
                      </a:lnTo>
                      <a:cubicBezTo>
                        <a:pt x="5973" y="18653"/>
                        <a:pt x="4397" y="14518"/>
                        <a:pt x="6388" y="8831"/>
                      </a:cubicBezTo>
                      <a:cubicBezTo>
                        <a:pt x="8711" y="2283"/>
                        <a:pt x="15100" y="0"/>
                        <a:pt x="24226" y="0"/>
                      </a:cubicBezTo>
                      <a:cubicBezTo>
                        <a:pt x="30200" y="0"/>
                        <a:pt x="34307" y="732"/>
                        <a:pt x="38206" y="2154"/>
                      </a:cubicBezTo>
                      <a:lnTo>
                        <a:pt x="35303" y="10296"/>
                      </a:lnTo>
                      <a:cubicBezTo>
                        <a:pt x="33021" y="9391"/>
                        <a:pt x="28873" y="8443"/>
                        <a:pt x="24932" y="8443"/>
                      </a:cubicBezTo>
                      <a:cubicBezTo>
                        <a:pt x="21820" y="8443"/>
                        <a:pt x="20659" y="8616"/>
                        <a:pt x="20286" y="9650"/>
                      </a:cubicBezTo>
                      <a:cubicBezTo>
                        <a:pt x="19912" y="10684"/>
                        <a:pt x="20327" y="10985"/>
                        <a:pt x="21115" y="11114"/>
                      </a:cubicBezTo>
                      <a:lnTo>
                        <a:pt x="25263" y="11761"/>
                      </a:lnTo>
                      <a:cubicBezTo>
                        <a:pt x="33602" y="13010"/>
                        <a:pt x="35261" y="17447"/>
                        <a:pt x="33021" y="23349"/>
                      </a:cubicBezTo>
                      <a:cubicBezTo>
                        <a:pt x="30490" y="30112"/>
                        <a:pt x="24351" y="32051"/>
                        <a:pt x="15349" y="32051"/>
                      </a:cubicBezTo>
                      <a:cubicBezTo>
                        <a:pt x="8711" y="32094"/>
                        <a:pt x="4190" y="31362"/>
                        <a:pt x="0" y="29811"/>
                      </a:cubicBez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9" name="Freeform: Shape 448">
                  <a:extLst>
                    <a:ext uri="{FF2B5EF4-FFF2-40B4-BE49-F238E27FC236}">
                      <a16:creationId xmlns:a16="http://schemas.microsoft.com/office/drawing/2014/main" id="{A3744CEE-1FCB-497A-B764-CE6A96C9D904}"/>
                    </a:ext>
                  </a:extLst>
                </p:cNvPr>
                <p:cNvSpPr/>
                <p:nvPr/>
              </p:nvSpPr>
              <p:spPr>
                <a:xfrm>
                  <a:off x="8218360" y="2760887"/>
                  <a:ext cx="43118" cy="31232"/>
                </a:xfrm>
                <a:custGeom>
                  <a:avLst/>
                  <a:gdLst>
                    <a:gd name="connsiteX0" fmla="*/ 36937 w 43118"/>
                    <a:gd name="connsiteY0" fmla="*/ 17318 h 31232"/>
                    <a:gd name="connsiteX1" fmla="*/ 15200 w 43118"/>
                    <a:gd name="connsiteY1" fmla="*/ 31232 h 31232"/>
                    <a:gd name="connsiteX2" fmla="*/ 929 w 43118"/>
                    <a:gd name="connsiteY2" fmla="*/ 17232 h 31232"/>
                    <a:gd name="connsiteX3" fmla="*/ 7152 w 43118"/>
                    <a:gd name="connsiteY3" fmla="*/ 0 h 31232"/>
                    <a:gd name="connsiteX4" fmla="*/ 21630 w 43118"/>
                    <a:gd name="connsiteY4" fmla="*/ 0 h 31232"/>
                    <a:gd name="connsiteX5" fmla="*/ 15283 w 43118"/>
                    <a:gd name="connsiteY5" fmla="*/ 17749 h 31232"/>
                    <a:gd name="connsiteX6" fmla="*/ 17564 w 43118"/>
                    <a:gd name="connsiteY6" fmla="*/ 22100 h 31232"/>
                    <a:gd name="connsiteX7" fmla="*/ 22293 w 43118"/>
                    <a:gd name="connsiteY7" fmla="*/ 17792 h 31232"/>
                    <a:gd name="connsiteX8" fmla="*/ 28641 w 43118"/>
                    <a:gd name="connsiteY8" fmla="*/ 0 h 31232"/>
                    <a:gd name="connsiteX9" fmla="*/ 43118 w 43118"/>
                    <a:gd name="connsiteY9" fmla="*/ 0 h 31232"/>
                    <a:gd name="connsiteX10" fmla="*/ 36937 w 43118"/>
                    <a:gd name="connsiteY10" fmla="*/ 17318 h 31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3118" h="31232">
                      <a:moveTo>
                        <a:pt x="36937" y="17318"/>
                      </a:moveTo>
                      <a:cubicBezTo>
                        <a:pt x="33162" y="27915"/>
                        <a:pt x="27064" y="31232"/>
                        <a:pt x="15200" y="31232"/>
                      </a:cubicBezTo>
                      <a:cubicBezTo>
                        <a:pt x="2506" y="31232"/>
                        <a:pt x="-2182" y="25891"/>
                        <a:pt x="929" y="17232"/>
                      </a:cubicBezTo>
                      <a:lnTo>
                        <a:pt x="7152" y="0"/>
                      </a:lnTo>
                      <a:lnTo>
                        <a:pt x="21630" y="0"/>
                      </a:lnTo>
                      <a:lnTo>
                        <a:pt x="15283" y="17749"/>
                      </a:lnTo>
                      <a:cubicBezTo>
                        <a:pt x="14163" y="20807"/>
                        <a:pt x="15200" y="22100"/>
                        <a:pt x="17564" y="22100"/>
                      </a:cubicBezTo>
                      <a:cubicBezTo>
                        <a:pt x="19514" y="22100"/>
                        <a:pt x="21008" y="21324"/>
                        <a:pt x="22293" y="17792"/>
                      </a:cubicBezTo>
                      <a:lnTo>
                        <a:pt x="28641" y="0"/>
                      </a:lnTo>
                      <a:lnTo>
                        <a:pt x="43118" y="0"/>
                      </a:lnTo>
                      <a:lnTo>
                        <a:pt x="36937" y="17318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0" name="Freeform: Shape 449">
                  <a:extLst>
                    <a:ext uri="{FF2B5EF4-FFF2-40B4-BE49-F238E27FC236}">
                      <a16:creationId xmlns:a16="http://schemas.microsoft.com/office/drawing/2014/main" id="{73750465-A5CF-40BC-8BBC-39688527CF1C}"/>
                    </a:ext>
                  </a:extLst>
                </p:cNvPr>
                <p:cNvSpPr/>
                <p:nvPr/>
              </p:nvSpPr>
              <p:spPr>
                <a:xfrm>
                  <a:off x="8255587" y="2760887"/>
                  <a:ext cx="42593" cy="30370"/>
                </a:xfrm>
                <a:custGeom>
                  <a:avLst/>
                  <a:gdLst>
                    <a:gd name="connsiteX0" fmla="*/ 18834 w 42593"/>
                    <a:gd name="connsiteY0" fmla="*/ 22358 h 30370"/>
                    <a:gd name="connsiteX1" fmla="*/ 17340 w 42593"/>
                    <a:gd name="connsiteY1" fmla="*/ 22358 h 30370"/>
                    <a:gd name="connsiteX2" fmla="*/ 14478 w 42593"/>
                    <a:gd name="connsiteY2" fmla="*/ 30371 h 30370"/>
                    <a:gd name="connsiteX3" fmla="*/ 0 w 42593"/>
                    <a:gd name="connsiteY3" fmla="*/ 30371 h 30370"/>
                    <a:gd name="connsiteX4" fmla="*/ 10869 w 42593"/>
                    <a:gd name="connsiteY4" fmla="*/ 0 h 30370"/>
                    <a:gd name="connsiteX5" fmla="*/ 28665 w 42593"/>
                    <a:gd name="connsiteY5" fmla="*/ 0 h 30370"/>
                    <a:gd name="connsiteX6" fmla="*/ 41691 w 42593"/>
                    <a:gd name="connsiteY6" fmla="*/ 12881 h 30370"/>
                    <a:gd name="connsiteX7" fmla="*/ 31943 w 42593"/>
                    <a:gd name="connsiteY7" fmla="*/ 20161 h 30370"/>
                    <a:gd name="connsiteX8" fmla="*/ 36589 w 42593"/>
                    <a:gd name="connsiteY8" fmla="*/ 30371 h 30370"/>
                    <a:gd name="connsiteX9" fmla="*/ 21696 w 42593"/>
                    <a:gd name="connsiteY9" fmla="*/ 30371 h 30370"/>
                    <a:gd name="connsiteX10" fmla="*/ 18834 w 42593"/>
                    <a:gd name="connsiteY10" fmla="*/ 22358 h 30370"/>
                    <a:gd name="connsiteX11" fmla="*/ 22401 w 42593"/>
                    <a:gd name="connsiteY11" fmla="*/ 8271 h 30370"/>
                    <a:gd name="connsiteX12" fmla="*/ 20286 w 42593"/>
                    <a:gd name="connsiteY12" fmla="*/ 14087 h 30370"/>
                    <a:gd name="connsiteX13" fmla="*/ 22070 w 42593"/>
                    <a:gd name="connsiteY13" fmla="*/ 14087 h 30370"/>
                    <a:gd name="connsiteX14" fmla="*/ 27421 w 42593"/>
                    <a:gd name="connsiteY14" fmla="*/ 11416 h 30370"/>
                    <a:gd name="connsiteX15" fmla="*/ 24642 w 42593"/>
                    <a:gd name="connsiteY15" fmla="*/ 8271 h 30370"/>
                    <a:gd name="connsiteX16" fmla="*/ 22401 w 42593"/>
                    <a:gd name="connsiteY16" fmla="*/ 82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2593" h="30370">
                      <a:moveTo>
                        <a:pt x="18834" y="22358"/>
                      </a:moveTo>
                      <a:lnTo>
                        <a:pt x="17340" y="22358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8665" y="0"/>
                      </a:lnTo>
                      <a:cubicBezTo>
                        <a:pt x="40862" y="0"/>
                        <a:pt x="44512" y="4868"/>
                        <a:pt x="41691" y="12881"/>
                      </a:cubicBezTo>
                      <a:cubicBezTo>
                        <a:pt x="40073" y="17447"/>
                        <a:pt x="36921" y="19386"/>
                        <a:pt x="31943" y="20161"/>
                      </a:cubicBezTo>
                      <a:lnTo>
                        <a:pt x="36589" y="30371"/>
                      </a:lnTo>
                      <a:lnTo>
                        <a:pt x="21696" y="30371"/>
                      </a:lnTo>
                      <a:lnTo>
                        <a:pt x="18834" y="22358"/>
                      </a:lnTo>
                      <a:close/>
                      <a:moveTo>
                        <a:pt x="22401" y="8271"/>
                      </a:moveTo>
                      <a:lnTo>
                        <a:pt x="20286" y="14087"/>
                      </a:lnTo>
                      <a:lnTo>
                        <a:pt x="22070" y="14087"/>
                      </a:lnTo>
                      <a:cubicBezTo>
                        <a:pt x="25222" y="14087"/>
                        <a:pt x="26508" y="13958"/>
                        <a:pt x="27421" y="11416"/>
                      </a:cubicBezTo>
                      <a:cubicBezTo>
                        <a:pt x="28085" y="9650"/>
                        <a:pt x="27918" y="8271"/>
                        <a:pt x="24642" y="8271"/>
                      </a:cubicBezTo>
                      <a:lnTo>
                        <a:pt x="22401" y="82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1" name="Freeform: Shape 450">
                  <a:extLst>
                    <a:ext uri="{FF2B5EF4-FFF2-40B4-BE49-F238E27FC236}">
                      <a16:creationId xmlns:a16="http://schemas.microsoft.com/office/drawing/2014/main" id="{D4E43463-23D0-420D-9BC2-903D64347E8E}"/>
                    </a:ext>
                  </a:extLst>
                </p:cNvPr>
                <p:cNvSpPr/>
                <p:nvPr/>
              </p:nvSpPr>
              <p:spPr>
                <a:xfrm>
                  <a:off x="8295453" y="2760887"/>
                  <a:ext cx="41359" cy="30413"/>
                </a:xfrm>
                <a:custGeom>
                  <a:avLst/>
                  <a:gdLst>
                    <a:gd name="connsiteX0" fmla="*/ 10910 w 41359"/>
                    <a:gd name="connsiteY0" fmla="*/ 0 h 30413"/>
                    <a:gd name="connsiteX1" fmla="*/ 41360 w 41359"/>
                    <a:gd name="connsiteY1" fmla="*/ 0 h 30413"/>
                    <a:gd name="connsiteX2" fmla="*/ 38414 w 41359"/>
                    <a:gd name="connsiteY2" fmla="*/ 8271 h 30413"/>
                    <a:gd name="connsiteX3" fmla="*/ 22401 w 41359"/>
                    <a:gd name="connsiteY3" fmla="*/ 8271 h 30413"/>
                    <a:gd name="connsiteX4" fmla="*/ 21406 w 41359"/>
                    <a:gd name="connsiteY4" fmla="*/ 11028 h 30413"/>
                    <a:gd name="connsiteX5" fmla="*/ 35800 w 41359"/>
                    <a:gd name="connsiteY5" fmla="*/ 11028 h 30413"/>
                    <a:gd name="connsiteX6" fmla="*/ 32772 w 41359"/>
                    <a:gd name="connsiteY6" fmla="*/ 19299 h 30413"/>
                    <a:gd name="connsiteX7" fmla="*/ 18419 w 41359"/>
                    <a:gd name="connsiteY7" fmla="*/ 19299 h 30413"/>
                    <a:gd name="connsiteX8" fmla="*/ 17382 w 41359"/>
                    <a:gd name="connsiteY8" fmla="*/ 22143 h 30413"/>
                    <a:gd name="connsiteX9" fmla="*/ 33395 w 41359"/>
                    <a:gd name="connsiteY9" fmla="*/ 22143 h 30413"/>
                    <a:gd name="connsiteX10" fmla="*/ 30449 w 41359"/>
                    <a:gd name="connsiteY10" fmla="*/ 30414 h 30413"/>
                    <a:gd name="connsiteX11" fmla="*/ 0 w 41359"/>
                    <a:gd name="connsiteY11" fmla="*/ 30414 h 30413"/>
                    <a:gd name="connsiteX12" fmla="*/ 10910 w 41359"/>
                    <a:gd name="connsiteY12" fmla="*/ 0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359" h="30413">
                      <a:moveTo>
                        <a:pt x="10910" y="0"/>
                      </a:moveTo>
                      <a:lnTo>
                        <a:pt x="41360" y="0"/>
                      </a:lnTo>
                      <a:lnTo>
                        <a:pt x="38414" y="8271"/>
                      </a:lnTo>
                      <a:lnTo>
                        <a:pt x="22401" y="8271"/>
                      </a:lnTo>
                      <a:lnTo>
                        <a:pt x="21406" y="11028"/>
                      </a:lnTo>
                      <a:lnTo>
                        <a:pt x="35800" y="11028"/>
                      </a:lnTo>
                      <a:lnTo>
                        <a:pt x="32772" y="19299"/>
                      </a:lnTo>
                      <a:lnTo>
                        <a:pt x="18419" y="19299"/>
                      </a:lnTo>
                      <a:lnTo>
                        <a:pt x="17382" y="22143"/>
                      </a:lnTo>
                      <a:lnTo>
                        <a:pt x="33395" y="22143"/>
                      </a:lnTo>
                      <a:lnTo>
                        <a:pt x="30449" y="30414"/>
                      </a:lnTo>
                      <a:lnTo>
                        <a:pt x="0" y="30414"/>
                      </a:lnTo>
                      <a:lnTo>
                        <a:pt x="10910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52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8437535" y="2760844"/>
                <a:ext cx="200656" cy="30457"/>
                <a:chOff x="8437535" y="2760844"/>
                <a:chExt cx="200656" cy="30457"/>
              </a:xfrm>
              <a:solidFill>
                <a:srgbClr val="27509B"/>
              </a:solidFill>
            </p:grpSpPr>
            <p:sp>
              <p:nvSpPr>
                <p:cNvPr id="453" name="Freeform: Shape 452">
                  <a:extLst>
                    <a:ext uri="{FF2B5EF4-FFF2-40B4-BE49-F238E27FC236}">
                      <a16:creationId xmlns:a16="http://schemas.microsoft.com/office/drawing/2014/main" id="{65232A94-70B3-4E33-B911-BF79FBBE06A4}"/>
                    </a:ext>
                  </a:extLst>
                </p:cNvPr>
                <p:cNvSpPr/>
                <p:nvPr/>
              </p:nvSpPr>
              <p:spPr>
                <a:xfrm>
                  <a:off x="8437535" y="2760887"/>
                  <a:ext cx="31569" cy="30370"/>
                </a:xfrm>
                <a:custGeom>
                  <a:avLst/>
                  <a:gdLst>
                    <a:gd name="connsiteX0" fmla="*/ 10828 w 31569"/>
                    <a:gd name="connsiteY0" fmla="*/ 0 h 30370"/>
                    <a:gd name="connsiteX1" fmla="*/ 25305 w 31569"/>
                    <a:gd name="connsiteY1" fmla="*/ 0 h 30370"/>
                    <a:gd name="connsiteX2" fmla="*/ 17714 w 31569"/>
                    <a:gd name="connsiteY2" fmla="*/ 21281 h 30370"/>
                    <a:gd name="connsiteX3" fmla="*/ 31570 w 31569"/>
                    <a:gd name="connsiteY3" fmla="*/ 21281 h 30370"/>
                    <a:gd name="connsiteX4" fmla="*/ 28292 w 31569"/>
                    <a:gd name="connsiteY4" fmla="*/ 30371 h 30370"/>
                    <a:gd name="connsiteX5" fmla="*/ 0 w 31569"/>
                    <a:gd name="connsiteY5" fmla="*/ 30371 h 30370"/>
                    <a:gd name="connsiteX6" fmla="*/ 10828 w 31569"/>
                    <a:gd name="connsiteY6" fmla="*/ 0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569" h="30370">
                      <a:moveTo>
                        <a:pt x="10828" y="0"/>
                      </a:moveTo>
                      <a:lnTo>
                        <a:pt x="25305" y="0"/>
                      </a:lnTo>
                      <a:lnTo>
                        <a:pt x="17714" y="21281"/>
                      </a:lnTo>
                      <a:lnTo>
                        <a:pt x="31570" y="21281"/>
                      </a:lnTo>
                      <a:lnTo>
                        <a:pt x="28292" y="30371"/>
                      </a:lnTo>
                      <a:lnTo>
                        <a:pt x="0" y="30371"/>
                      </a:lnTo>
                      <a:lnTo>
                        <a:pt x="10828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4" name="Freeform: Shape 453">
                  <a:extLst>
                    <a:ext uri="{FF2B5EF4-FFF2-40B4-BE49-F238E27FC236}">
                      <a16:creationId xmlns:a16="http://schemas.microsoft.com/office/drawing/2014/main" id="{9BDC6032-FD04-4863-82BB-1A762D532A27}"/>
                    </a:ext>
                  </a:extLst>
                </p:cNvPr>
                <p:cNvSpPr/>
                <p:nvPr/>
              </p:nvSpPr>
              <p:spPr>
                <a:xfrm>
                  <a:off x="8469934" y="2760887"/>
                  <a:ext cx="41317" cy="30413"/>
                </a:xfrm>
                <a:custGeom>
                  <a:avLst/>
                  <a:gdLst>
                    <a:gd name="connsiteX0" fmla="*/ 10869 w 41317"/>
                    <a:gd name="connsiteY0" fmla="*/ 0 h 30413"/>
                    <a:gd name="connsiteX1" fmla="*/ 41318 w 41317"/>
                    <a:gd name="connsiteY1" fmla="*/ 0 h 30413"/>
                    <a:gd name="connsiteX2" fmla="*/ 38372 w 41317"/>
                    <a:gd name="connsiteY2" fmla="*/ 8271 h 30413"/>
                    <a:gd name="connsiteX3" fmla="*/ 22360 w 41317"/>
                    <a:gd name="connsiteY3" fmla="*/ 8271 h 30413"/>
                    <a:gd name="connsiteX4" fmla="*/ 21364 w 41317"/>
                    <a:gd name="connsiteY4" fmla="*/ 11028 h 30413"/>
                    <a:gd name="connsiteX5" fmla="*/ 35800 w 41317"/>
                    <a:gd name="connsiteY5" fmla="*/ 11028 h 30413"/>
                    <a:gd name="connsiteX6" fmla="*/ 32772 w 41317"/>
                    <a:gd name="connsiteY6" fmla="*/ 19299 h 30413"/>
                    <a:gd name="connsiteX7" fmla="*/ 18419 w 41317"/>
                    <a:gd name="connsiteY7" fmla="*/ 19299 h 30413"/>
                    <a:gd name="connsiteX8" fmla="*/ 17381 w 41317"/>
                    <a:gd name="connsiteY8" fmla="*/ 22143 h 30413"/>
                    <a:gd name="connsiteX9" fmla="*/ 33395 w 41317"/>
                    <a:gd name="connsiteY9" fmla="*/ 22143 h 30413"/>
                    <a:gd name="connsiteX10" fmla="*/ 30449 w 41317"/>
                    <a:gd name="connsiteY10" fmla="*/ 30414 h 30413"/>
                    <a:gd name="connsiteX11" fmla="*/ 0 w 41317"/>
                    <a:gd name="connsiteY11" fmla="*/ 30414 h 30413"/>
                    <a:gd name="connsiteX12" fmla="*/ 10869 w 41317"/>
                    <a:gd name="connsiteY12" fmla="*/ 0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317" h="30413">
                      <a:moveTo>
                        <a:pt x="10869" y="0"/>
                      </a:moveTo>
                      <a:lnTo>
                        <a:pt x="41318" y="0"/>
                      </a:lnTo>
                      <a:lnTo>
                        <a:pt x="38372" y="8271"/>
                      </a:lnTo>
                      <a:lnTo>
                        <a:pt x="22360" y="8271"/>
                      </a:lnTo>
                      <a:lnTo>
                        <a:pt x="21364" y="11028"/>
                      </a:lnTo>
                      <a:lnTo>
                        <a:pt x="35800" y="11028"/>
                      </a:lnTo>
                      <a:lnTo>
                        <a:pt x="32772" y="19299"/>
                      </a:lnTo>
                      <a:lnTo>
                        <a:pt x="18419" y="19299"/>
                      </a:lnTo>
                      <a:lnTo>
                        <a:pt x="17381" y="22143"/>
                      </a:lnTo>
                      <a:lnTo>
                        <a:pt x="33395" y="22143"/>
                      </a:lnTo>
                      <a:lnTo>
                        <a:pt x="30449" y="30414"/>
                      </a:lnTo>
                      <a:lnTo>
                        <a:pt x="0" y="30414"/>
                      </a:lnTo>
                      <a:lnTo>
                        <a:pt x="10869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5" name="Freeform: Shape 454">
                  <a:extLst>
                    <a:ext uri="{FF2B5EF4-FFF2-40B4-BE49-F238E27FC236}">
                      <a16:creationId xmlns:a16="http://schemas.microsoft.com/office/drawing/2014/main" id="{92871DA5-BD46-4969-AEFD-701262518425}"/>
                    </a:ext>
                  </a:extLst>
                </p:cNvPr>
                <p:cNvSpPr/>
                <p:nvPr/>
              </p:nvSpPr>
              <p:spPr>
                <a:xfrm>
                  <a:off x="8503287" y="2760887"/>
                  <a:ext cx="42437" cy="30370"/>
                </a:xfrm>
                <a:custGeom>
                  <a:avLst/>
                  <a:gdLst>
                    <a:gd name="connsiteX0" fmla="*/ 28375 w 42437"/>
                    <a:gd name="connsiteY0" fmla="*/ 26063 h 30370"/>
                    <a:gd name="connsiteX1" fmla="*/ 17506 w 42437"/>
                    <a:gd name="connsiteY1" fmla="*/ 26063 h 30370"/>
                    <a:gd name="connsiteX2" fmla="*/ 14851 w 42437"/>
                    <a:gd name="connsiteY2" fmla="*/ 30371 h 30370"/>
                    <a:gd name="connsiteX3" fmla="*/ 0 w 42437"/>
                    <a:gd name="connsiteY3" fmla="*/ 30371 h 30370"/>
                    <a:gd name="connsiteX4" fmla="*/ 17381 w 42437"/>
                    <a:gd name="connsiteY4" fmla="*/ 4696 h 30370"/>
                    <a:gd name="connsiteX5" fmla="*/ 25430 w 42437"/>
                    <a:gd name="connsiteY5" fmla="*/ 0 h 30370"/>
                    <a:gd name="connsiteX6" fmla="*/ 42438 w 42437"/>
                    <a:gd name="connsiteY6" fmla="*/ 0 h 30370"/>
                    <a:gd name="connsiteX7" fmla="*/ 41608 w 42437"/>
                    <a:gd name="connsiteY7" fmla="*/ 30371 h 30370"/>
                    <a:gd name="connsiteX8" fmla="*/ 28126 w 42437"/>
                    <a:gd name="connsiteY8" fmla="*/ 30371 h 30370"/>
                    <a:gd name="connsiteX9" fmla="*/ 28375 w 42437"/>
                    <a:gd name="connsiteY9" fmla="*/ 26063 h 30370"/>
                    <a:gd name="connsiteX10" fmla="*/ 29412 w 42437"/>
                    <a:gd name="connsiteY10" fmla="*/ 6979 h 30370"/>
                    <a:gd name="connsiteX11" fmla="*/ 22940 w 42437"/>
                    <a:gd name="connsiteY11" fmla="*/ 17404 h 30370"/>
                    <a:gd name="connsiteX12" fmla="*/ 28831 w 42437"/>
                    <a:gd name="connsiteY12" fmla="*/ 17404 h 30370"/>
                    <a:gd name="connsiteX13" fmla="*/ 29412 w 42437"/>
                    <a:gd name="connsiteY13" fmla="*/ 6979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2437" h="30370">
                      <a:moveTo>
                        <a:pt x="28375" y="26063"/>
                      </a:moveTo>
                      <a:lnTo>
                        <a:pt x="17506" y="26063"/>
                      </a:lnTo>
                      <a:lnTo>
                        <a:pt x="14851" y="30371"/>
                      </a:lnTo>
                      <a:lnTo>
                        <a:pt x="0" y="30371"/>
                      </a:lnTo>
                      <a:lnTo>
                        <a:pt x="17381" y="4696"/>
                      </a:lnTo>
                      <a:cubicBezTo>
                        <a:pt x="19663" y="1335"/>
                        <a:pt x="21903" y="0"/>
                        <a:pt x="25430" y="0"/>
                      </a:cubicBezTo>
                      <a:lnTo>
                        <a:pt x="42438" y="0"/>
                      </a:lnTo>
                      <a:lnTo>
                        <a:pt x="41608" y="30371"/>
                      </a:lnTo>
                      <a:lnTo>
                        <a:pt x="28126" y="30371"/>
                      </a:lnTo>
                      <a:lnTo>
                        <a:pt x="28375" y="26063"/>
                      </a:lnTo>
                      <a:close/>
                      <a:moveTo>
                        <a:pt x="29412" y="6979"/>
                      </a:moveTo>
                      <a:lnTo>
                        <a:pt x="22940" y="17404"/>
                      </a:lnTo>
                      <a:lnTo>
                        <a:pt x="28831" y="17404"/>
                      </a:lnTo>
                      <a:lnTo>
                        <a:pt x="29412" y="6979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6" name="Freeform: Shape 455">
                  <a:extLst>
                    <a:ext uri="{FF2B5EF4-FFF2-40B4-BE49-F238E27FC236}">
                      <a16:creationId xmlns:a16="http://schemas.microsoft.com/office/drawing/2014/main" id="{45DDBF6D-7D1D-4C83-8CED-88AB6EB7F38B}"/>
                    </a:ext>
                  </a:extLst>
                </p:cNvPr>
                <p:cNvSpPr/>
                <p:nvPr/>
              </p:nvSpPr>
              <p:spPr>
                <a:xfrm>
                  <a:off x="8547799" y="2760887"/>
                  <a:ext cx="42596" cy="30370"/>
                </a:xfrm>
                <a:custGeom>
                  <a:avLst/>
                  <a:gdLst>
                    <a:gd name="connsiteX0" fmla="*/ 18833 w 42596"/>
                    <a:gd name="connsiteY0" fmla="*/ 22358 h 30370"/>
                    <a:gd name="connsiteX1" fmla="*/ 17340 w 42596"/>
                    <a:gd name="connsiteY1" fmla="*/ 22358 h 30370"/>
                    <a:gd name="connsiteX2" fmla="*/ 14478 w 42596"/>
                    <a:gd name="connsiteY2" fmla="*/ 30371 h 30370"/>
                    <a:gd name="connsiteX3" fmla="*/ 0 w 42596"/>
                    <a:gd name="connsiteY3" fmla="*/ 30371 h 30370"/>
                    <a:gd name="connsiteX4" fmla="*/ 10869 w 42596"/>
                    <a:gd name="connsiteY4" fmla="*/ 0 h 30370"/>
                    <a:gd name="connsiteX5" fmla="*/ 28665 w 42596"/>
                    <a:gd name="connsiteY5" fmla="*/ 0 h 30370"/>
                    <a:gd name="connsiteX6" fmla="*/ 41691 w 42596"/>
                    <a:gd name="connsiteY6" fmla="*/ 12881 h 30370"/>
                    <a:gd name="connsiteX7" fmla="*/ 31943 w 42596"/>
                    <a:gd name="connsiteY7" fmla="*/ 20161 h 30370"/>
                    <a:gd name="connsiteX8" fmla="*/ 36588 w 42596"/>
                    <a:gd name="connsiteY8" fmla="*/ 30371 h 30370"/>
                    <a:gd name="connsiteX9" fmla="*/ 21737 w 42596"/>
                    <a:gd name="connsiteY9" fmla="*/ 30371 h 30370"/>
                    <a:gd name="connsiteX10" fmla="*/ 18833 w 42596"/>
                    <a:gd name="connsiteY10" fmla="*/ 22358 h 30370"/>
                    <a:gd name="connsiteX11" fmla="*/ 22401 w 42596"/>
                    <a:gd name="connsiteY11" fmla="*/ 8271 h 30370"/>
                    <a:gd name="connsiteX12" fmla="*/ 20286 w 42596"/>
                    <a:gd name="connsiteY12" fmla="*/ 14087 h 30370"/>
                    <a:gd name="connsiteX13" fmla="*/ 22069 w 42596"/>
                    <a:gd name="connsiteY13" fmla="*/ 14087 h 30370"/>
                    <a:gd name="connsiteX14" fmla="*/ 27421 w 42596"/>
                    <a:gd name="connsiteY14" fmla="*/ 11416 h 30370"/>
                    <a:gd name="connsiteX15" fmla="*/ 24642 w 42596"/>
                    <a:gd name="connsiteY15" fmla="*/ 8271 h 30370"/>
                    <a:gd name="connsiteX16" fmla="*/ 22401 w 42596"/>
                    <a:gd name="connsiteY16" fmla="*/ 82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2596" h="30370">
                      <a:moveTo>
                        <a:pt x="18833" y="22358"/>
                      </a:moveTo>
                      <a:lnTo>
                        <a:pt x="17340" y="22358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8665" y="0"/>
                      </a:lnTo>
                      <a:cubicBezTo>
                        <a:pt x="40903" y="0"/>
                        <a:pt x="44511" y="4825"/>
                        <a:pt x="41691" y="12881"/>
                      </a:cubicBezTo>
                      <a:cubicBezTo>
                        <a:pt x="40073" y="17447"/>
                        <a:pt x="36921" y="19386"/>
                        <a:pt x="31943" y="20161"/>
                      </a:cubicBezTo>
                      <a:lnTo>
                        <a:pt x="36588" y="30371"/>
                      </a:lnTo>
                      <a:lnTo>
                        <a:pt x="21737" y="30371"/>
                      </a:lnTo>
                      <a:lnTo>
                        <a:pt x="18833" y="22358"/>
                      </a:lnTo>
                      <a:close/>
                      <a:moveTo>
                        <a:pt x="22401" y="8271"/>
                      </a:moveTo>
                      <a:lnTo>
                        <a:pt x="20286" y="14087"/>
                      </a:lnTo>
                      <a:lnTo>
                        <a:pt x="22069" y="14087"/>
                      </a:lnTo>
                      <a:cubicBezTo>
                        <a:pt x="25222" y="14087"/>
                        <a:pt x="26508" y="13958"/>
                        <a:pt x="27421" y="11416"/>
                      </a:cubicBezTo>
                      <a:cubicBezTo>
                        <a:pt x="28084" y="9650"/>
                        <a:pt x="27918" y="8271"/>
                        <a:pt x="24642" y="8271"/>
                      </a:cubicBezTo>
                      <a:lnTo>
                        <a:pt x="22401" y="82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7" name="Freeform: Shape 456">
                  <a:extLst>
                    <a:ext uri="{FF2B5EF4-FFF2-40B4-BE49-F238E27FC236}">
                      <a16:creationId xmlns:a16="http://schemas.microsoft.com/office/drawing/2014/main" id="{CE2199A1-C738-414D-AC27-524D0E83722C}"/>
                    </a:ext>
                  </a:extLst>
                </p:cNvPr>
                <p:cNvSpPr/>
                <p:nvPr/>
              </p:nvSpPr>
              <p:spPr>
                <a:xfrm>
                  <a:off x="8587706" y="2760844"/>
                  <a:ext cx="50485" cy="30413"/>
                </a:xfrm>
                <a:custGeom>
                  <a:avLst/>
                  <a:gdLst>
                    <a:gd name="connsiteX0" fmla="*/ 19705 w 50485"/>
                    <a:gd name="connsiteY0" fmla="*/ 9994 h 30413"/>
                    <a:gd name="connsiteX1" fmla="*/ 12404 w 50485"/>
                    <a:gd name="connsiteY1" fmla="*/ 30414 h 30413"/>
                    <a:gd name="connsiteX2" fmla="*/ 0 w 50485"/>
                    <a:gd name="connsiteY2" fmla="*/ 30414 h 30413"/>
                    <a:gd name="connsiteX3" fmla="*/ 10868 w 50485"/>
                    <a:gd name="connsiteY3" fmla="*/ 43 h 30413"/>
                    <a:gd name="connsiteX4" fmla="*/ 26923 w 50485"/>
                    <a:gd name="connsiteY4" fmla="*/ 43 h 30413"/>
                    <a:gd name="connsiteX5" fmla="*/ 31403 w 50485"/>
                    <a:gd name="connsiteY5" fmla="*/ 5686 h 30413"/>
                    <a:gd name="connsiteX6" fmla="*/ 30698 w 50485"/>
                    <a:gd name="connsiteY6" fmla="*/ 20807 h 30413"/>
                    <a:gd name="connsiteX7" fmla="*/ 38123 w 50485"/>
                    <a:gd name="connsiteY7" fmla="*/ 0 h 30413"/>
                    <a:gd name="connsiteX8" fmla="*/ 50485 w 50485"/>
                    <a:gd name="connsiteY8" fmla="*/ 0 h 30413"/>
                    <a:gd name="connsiteX9" fmla="*/ 39617 w 50485"/>
                    <a:gd name="connsiteY9" fmla="*/ 30371 h 30413"/>
                    <a:gd name="connsiteX10" fmla="*/ 18792 w 50485"/>
                    <a:gd name="connsiteY10" fmla="*/ 30371 h 30413"/>
                    <a:gd name="connsiteX11" fmla="*/ 19705 w 50485"/>
                    <a:gd name="connsiteY11" fmla="*/ 9994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0485" h="30413">
                      <a:moveTo>
                        <a:pt x="19705" y="9994"/>
                      </a:moveTo>
                      <a:lnTo>
                        <a:pt x="12404" y="30414"/>
                      </a:lnTo>
                      <a:lnTo>
                        <a:pt x="0" y="30414"/>
                      </a:lnTo>
                      <a:lnTo>
                        <a:pt x="10868" y="43"/>
                      </a:lnTo>
                      <a:lnTo>
                        <a:pt x="26923" y="43"/>
                      </a:lnTo>
                      <a:cubicBezTo>
                        <a:pt x="30491" y="43"/>
                        <a:pt x="31569" y="2326"/>
                        <a:pt x="31403" y="5686"/>
                      </a:cubicBezTo>
                      <a:lnTo>
                        <a:pt x="30698" y="20807"/>
                      </a:lnTo>
                      <a:lnTo>
                        <a:pt x="38123" y="0"/>
                      </a:lnTo>
                      <a:lnTo>
                        <a:pt x="50485" y="0"/>
                      </a:lnTo>
                      <a:lnTo>
                        <a:pt x="39617" y="30371"/>
                      </a:lnTo>
                      <a:lnTo>
                        <a:pt x="18792" y="30371"/>
                      </a:lnTo>
                      <a:lnTo>
                        <a:pt x="19705" y="9994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58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7316935" y="2760068"/>
                <a:ext cx="365928" cy="32050"/>
                <a:chOff x="7316935" y="2760068"/>
                <a:chExt cx="365928" cy="32050"/>
              </a:xfrm>
              <a:solidFill>
                <a:srgbClr val="27509B"/>
              </a:solidFill>
            </p:grpSpPr>
            <p:sp>
              <p:nvSpPr>
                <p:cNvPr id="459" name="Freeform: Shape 458">
                  <a:extLst>
                    <a:ext uri="{FF2B5EF4-FFF2-40B4-BE49-F238E27FC236}">
                      <a16:creationId xmlns:a16="http://schemas.microsoft.com/office/drawing/2014/main" id="{F44BFF06-461B-45EC-842C-20C23CF72E65}"/>
                    </a:ext>
                  </a:extLst>
                </p:cNvPr>
                <p:cNvSpPr/>
                <p:nvPr/>
              </p:nvSpPr>
              <p:spPr>
                <a:xfrm>
                  <a:off x="7316935" y="2760887"/>
                  <a:ext cx="46835" cy="30370"/>
                </a:xfrm>
                <a:custGeom>
                  <a:avLst/>
                  <a:gdLst>
                    <a:gd name="connsiteX0" fmla="*/ 25305 w 46835"/>
                    <a:gd name="connsiteY0" fmla="*/ 19730 h 30370"/>
                    <a:gd name="connsiteX1" fmla="*/ 18294 w 46835"/>
                    <a:gd name="connsiteY1" fmla="*/ 19730 h 30370"/>
                    <a:gd name="connsiteX2" fmla="*/ 14478 w 46835"/>
                    <a:gd name="connsiteY2" fmla="*/ 30371 h 30370"/>
                    <a:gd name="connsiteX3" fmla="*/ 0 w 46835"/>
                    <a:gd name="connsiteY3" fmla="*/ 30371 h 30370"/>
                    <a:gd name="connsiteX4" fmla="*/ 10869 w 46835"/>
                    <a:gd name="connsiteY4" fmla="*/ 0 h 30370"/>
                    <a:gd name="connsiteX5" fmla="*/ 25347 w 46835"/>
                    <a:gd name="connsiteY5" fmla="*/ 0 h 30370"/>
                    <a:gd name="connsiteX6" fmla="*/ 21530 w 46835"/>
                    <a:gd name="connsiteY6" fmla="*/ 10641 h 30370"/>
                    <a:gd name="connsiteX7" fmla="*/ 28541 w 46835"/>
                    <a:gd name="connsiteY7" fmla="*/ 10641 h 30370"/>
                    <a:gd name="connsiteX8" fmla="*/ 32357 w 46835"/>
                    <a:gd name="connsiteY8" fmla="*/ 0 h 30370"/>
                    <a:gd name="connsiteX9" fmla="*/ 46835 w 46835"/>
                    <a:gd name="connsiteY9" fmla="*/ 0 h 30370"/>
                    <a:gd name="connsiteX10" fmla="*/ 35967 w 46835"/>
                    <a:gd name="connsiteY10" fmla="*/ 30371 h 30370"/>
                    <a:gd name="connsiteX11" fmla="*/ 21489 w 46835"/>
                    <a:gd name="connsiteY11" fmla="*/ 30371 h 30370"/>
                    <a:gd name="connsiteX12" fmla="*/ 25305 w 46835"/>
                    <a:gd name="connsiteY12" fmla="*/ 19730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6835" h="30370">
                      <a:moveTo>
                        <a:pt x="25305" y="19730"/>
                      </a:moveTo>
                      <a:lnTo>
                        <a:pt x="18294" y="19730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5347" y="0"/>
                      </a:lnTo>
                      <a:lnTo>
                        <a:pt x="21530" y="10641"/>
                      </a:lnTo>
                      <a:lnTo>
                        <a:pt x="28541" y="10641"/>
                      </a:lnTo>
                      <a:lnTo>
                        <a:pt x="32357" y="0"/>
                      </a:lnTo>
                      <a:lnTo>
                        <a:pt x="46835" y="0"/>
                      </a:lnTo>
                      <a:lnTo>
                        <a:pt x="35967" y="30371"/>
                      </a:lnTo>
                      <a:lnTo>
                        <a:pt x="21489" y="30371"/>
                      </a:lnTo>
                      <a:lnTo>
                        <a:pt x="25305" y="1973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0" name="Freeform: Shape 459">
                  <a:extLst>
                    <a:ext uri="{FF2B5EF4-FFF2-40B4-BE49-F238E27FC236}">
                      <a16:creationId xmlns:a16="http://schemas.microsoft.com/office/drawing/2014/main" id="{DA34B4E3-C9C4-4F91-9D9D-00B450C5D886}"/>
                    </a:ext>
                  </a:extLst>
                </p:cNvPr>
                <p:cNvSpPr/>
                <p:nvPr/>
              </p:nvSpPr>
              <p:spPr>
                <a:xfrm>
                  <a:off x="7366715" y="2760887"/>
                  <a:ext cx="41566" cy="30370"/>
                </a:xfrm>
                <a:custGeom>
                  <a:avLst/>
                  <a:gdLst>
                    <a:gd name="connsiteX0" fmla="*/ 2489 w 41566"/>
                    <a:gd name="connsiteY0" fmla="*/ 30371 h 30370"/>
                    <a:gd name="connsiteX1" fmla="*/ 6223 w 41566"/>
                    <a:gd name="connsiteY1" fmla="*/ 19903 h 30370"/>
                    <a:gd name="connsiteX2" fmla="*/ 0 w 41566"/>
                    <a:gd name="connsiteY2" fmla="*/ 0 h 30370"/>
                    <a:gd name="connsiteX3" fmla="*/ 13441 w 41566"/>
                    <a:gd name="connsiteY3" fmla="*/ 0 h 30370"/>
                    <a:gd name="connsiteX4" fmla="*/ 16220 w 41566"/>
                    <a:gd name="connsiteY4" fmla="*/ 10167 h 30370"/>
                    <a:gd name="connsiteX5" fmla="*/ 25471 w 41566"/>
                    <a:gd name="connsiteY5" fmla="*/ 0 h 30370"/>
                    <a:gd name="connsiteX6" fmla="*/ 41567 w 41566"/>
                    <a:gd name="connsiteY6" fmla="*/ 0 h 30370"/>
                    <a:gd name="connsiteX7" fmla="*/ 20286 w 41566"/>
                    <a:gd name="connsiteY7" fmla="*/ 20936 h 30370"/>
                    <a:gd name="connsiteX8" fmla="*/ 16926 w 41566"/>
                    <a:gd name="connsiteY8" fmla="*/ 30371 h 30370"/>
                    <a:gd name="connsiteX9" fmla="*/ 2489 w 41566"/>
                    <a:gd name="connsiteY9" fmla="*/ 303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1566" h="30370">
                      <a:moveTo>
                        <a:pt x="2489" y="30371"/>
                      </a:moveTo>
                      <a:lnTo>
                        <a:pt x="6223" y="19903"/>
                      </a:lnTo>
                      <a:lnTo>
                        <a:pt x="0" y="0"/>
                      </a:lnTo>
                      <a:lnTo>
                        <a:pt x="13441" y="0"/>
                      </a:lnTo>
                      <a:lnTo>
                        <a:pt x="16220" y="10167"/>
                      </a:lnTo>
                      <a:lnTo>
                        <a:pt x="25471" y="0"/>
                      </a:lnTo>
                      <a:lnTo>
                        <a:pt x="41567" y="0"/>
                      </a:lnTo>
                      <a:lnTo>
                        <a:pt x="20286" y="20936"/>
                      </a:lnTo>
                      <a:lnTo>
                        <a:pt x="16926" y="30371"/>
                      </a:lnTo>
                      <a:lnTo>
                        <a:pt x="2489" y="303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1" name="Freeform: Shape 460">
                  <a:extLst>
                    <a:ext uri="{FF2B5EF4-FFF2-40B4-BE49-F238E27FC236}">
                      <a16:creationId xmlns:a16="http://schemas.microsoft.com/office/drawing/2014/main" id="{BA7362A0-E7B7-46A9-BF7B-1569FF6833EB}"/>
                    </a:ext>
                  </a:extLst>
                </p:cNvPr>
                <p:cNvSpPr/>
                <p:nvPr/>
              </p:nvSpPr>
              <p:spPr>
                <a:xfrm>
                  <a:off x="7400318" y="2760887"/>
                  <a:ext cx="42285" cy="30370"/>
                </a:xfrm>
                <a:custGeom>
                  <a:avLst/>
                  <a:gdLst>
                    <a:gd name="connsiteX0" fmla="*/ 16759 w 42285"/>
                    <a:gd name="connsiteY0" fmla="*/ 24038 h 30370"/>
                    <a:gd name="connsiteX1" fmla="*/ 14478 w 42285"/>
                    <a:gd name="connsiteY1" fmla="*/ 30371 h 30370"/>
                    <a:gd name="connsiteX2" fmla="*/ 0 w 42285"/>
                    <a:gd name="connsiteY2" fmla="*/ 30371 h 30370"/>
                    <a:gd name="connsiteX3" fmla="*/ 10869 w 42285"/>
                    <a:gd name="connsiteY3" fmla="*/ 0 h 30370"/>
                    <a:gd name="connsiteX4" fmla="*/ 27711 w 42285"/>
                    <a:gd name="connsiteY4" fmla="*/ 0 h 30370"/>
                    <a:gd name="connsiteX5" fmla="*/ 41235 w 42285"/>
                    <a:gd name="connsiteY5" fmla="*/ 14345 h 30370"/>
                    <a:gd name="connsiteX6" fmla="*/ 22982 w 42285"/>
                    <a:gd name="connsiteY6" fmla="*/ 24038 h 30370"/>
                    <a:gd name="connsiteX7" fmla="*/ 16759 w 42285"/>
                    <a:gd name="connsiteY7" fmla="*/ 24038 h 30370"/>
                    <a:gd name="connsiteX8" fmla="*/ 22401 w 42285"/>
                    <a:gd name="connsiteY8" fmla="*/ 8271 h 30370"/>
                    <a:gd name="connsiteX9" fmla="*/ 19705 w 42285"/>
                    <a:gd name="connsiteY9" fmla="*/ 15767 h 30370"/>
                    <a:gd name="connsiteX10" fmla="*/ 21074 w 42285"/>
                    <a:gd name="connsiteY10" fmla="*/ 15767 h 30370"/>
                    <a:gd name="connsiteX11" fmla="*/ 27213 w 42285"/>
                    <a:gd name="connsiteY11" fmla="*/ 12277 h 30370"/>
                    <a:gd name="connsiteX12" fmla="*/ 24641 w 42285"/>
                    <a:gd name="connsiteY12" fmla="*/ 8271 h 30370"/>
                    <a:gd name="connsiteX13" fmla="*/ 22401 w 42285"/>
                    <a:gd name="connsiteY13" fmla="*/ 82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2285" h="30370">
                      <a:moveTo>
                        <a:pt x="16759" y="24038"/>
                      </a:move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7711" y="0"/>
                      </a:lnTo>
                      <a:cubicBezTo>
                        <a:pt x="41318" y="0"/>
                        <a:pt x="44180" y="6160"/>
                        <a:pt x="41235" y="14345"/>
                      </a:cubicBezTo>
                      <a:cubicBezTo>
                        <a:pt x="38289" y="22444"/>
                        <a:pt x="31569" y="24038"/>
                        <a:pt x="22982" y="24038"/>
                      </a:cubicBezTo>
                      <a:lnTo>
                        <a:pt x="16759" y="24038"/>
                      </a:lnTo>
                      <a:close/>
                      <a:moveTo>
                        <a:pt x="22401" y="8271"/>
                      </a:moveTo>
                      <a:lnTo>
                        <a:pt x="19705" y="15767"/>
                      </a:lnTo>
                      <a:lnTo>
                        <a:pt x="21074" y="15767"/>
                      </a:lnTo>
                      <a:cubicBezTo>
                        <a:pt x="25056" y="15767"/>
                        <a:pt x="26259" y="14948"/>
                        <a:pt x="27213" y="12277"/>
                      </a:cubicBezTo>
                      <a:cubicBezTo>
                        <a:pt x="28167" y="9650"/>
                        <a:pt x="27835" y="8271"/>
                        <a:pt x="24641" y="8271"/>
                      </a:cubicBezTo>
                      <a:lnTo>
                        <a:pt x="22401" y="82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2" name="Freeform: Shape 461">
                  <a:extLst>
                    <a:ext uri="{FF2B5EF4-FFF2-40B4-BE49-F238E27FC236}">
                      <a16:creationId xmlns:a16="http://schemas.microsoft.com/office/drawing/2014/main" id="{711C701E-019D-4C37-BDA8-9ABB16D50125}"/>
                    </a:ext>
                  </a:extLst>
                </p:cNvPr>
                <p:cNvSpPr/>
                <p:nvPr/>
              </p:nvSpPr>
              <p:spPr>
                <a:xfrm>
                  <a:off x="7443338" y="2760068"/>
                  <a:ext cx="41665" cy="32050"/>
                </a:xfrm>
                <a:custGeom>
                  <a:avLst/>
                  <a:gdLst>
                    <a:gd name="connsiteX0" fmla="*/ 1408 w 41665"/>
                    <a:gd name="connsiteY0" fmla="*/ 13828 h 32050"/>
                    <a:gd name="connsiteX1" fmla="*/ 24474 w 41665"/>
                    <a:gd name="connsiteY1" fmla="*/ 0 h 32050"/>
                    <a:gd name="connsiteX2" fmla="*/ 40279 w 41665"/>
                    <a:gd name="connsiteY2" fmla="*/ 18179 h 32050"/>
                    <a:gd name="connsiteX3" fmla="*/ 17255 w 41665"/>
                    <a:gd name="connsiteY3" fmla="*/ 32051 h 32050"/>
                    <a:gd name="connsiteX4" fmla="*/ 1408 w 41665"/>
                    <a:gd name="connsiteY4" fmla="*/ 13828 h 32050"/>
                    <a:gd name="connsiteX5" fmla="*/ 26257 w 41665"/>
                    <a:gd name="connsiteY5" fmla="*/ 16887 h 32050"/>
                    <a:gd name="connsiteX6" fmla="*/ 22980 w 41665"/>
                    <a:gd name="connsiteY6" fmla="*/ 8874 h 32050"/>
                    <a:gd name="connsiteX7" fmla="*/ 15471 w 41665"/>
                    <a:gd name="connsiteY7" fmla="*/ 15121 h 32050"/>
                    <a:gd name="connsiteX8" fmla="*/ 18749 w 41665"/>
                    <a:gd name="connsiteY8" fmla="*/ 23134 h 32050"/>
                    <a:gd name="connsiteX9" fmla="*/ 26257 w 41665"/>
                    <a:gd name="connsiteY9" fmla="*/ 16887 h 32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1665" h="32050">
                      <a:moveTo>
                        <a:pt x="1408" y="13828"/>
                      </a:moveTo>
                      <a:cubicBezTo>
                        <a:pt x="5184" y="3489"/>
                        <a:pt x="12069" y="0"/>
                        <a:pt x="24474" y="0"/>
                      </a:cubicBezTo>
                      <a:cubicBezTo>
                        <a:pt x="40279" y="0"/>
                        <a:pt x="44137" y="7625"/>
                        <a:pt x="40279" y="18179"/>
                      </a:cubicBezTo>
                      <a:cubicBezTo>
                        <a:pt x="36462" y="28561"/>
                        <a:pt x="29576" y="32051"/>
                        <a:pt x="17255" y="32051"/>
                      </a:cubicBezTo>
                      <a:cubicBezTo>
                        <a:pt x="1367" y="32051"/>
                        <a:pt x="-2491" y="24426"/>
                        <a:pt x="1408" y="13828"/>
                      </a:cubicBezTo>
                      <a:close/>
                      <a:moveTo>
                        <a:pt x="26257" y="16887"/>
                      </a:moveTo>
                      <a:cubicBezTo>
                        <a:pt x="28041" y="11545"/>
                        <a:pt x="27211" y="8874"/>
                        <a:pt x="22980" y="8874"/>
                      </a:cubicBezTo>
                      <a:cubicBezTo>
                        <a:pt x="19288" y="8874"/>
                        <a:pt x="17214" y="10210"/>
                        <a:pt x="15471" y="15121"/>
                      </a:cubicBezTo>
                      <a:cubicBezTo>
                        <a:pt x="13604" y="20419"/>
                        <a:pt x="14434" y="23134"/>
                        <a:pt x="18749" y="23134"/>
                      </a:cubicBezTo>
                      <a:cubicBezTo>
                        <a:pt x="22358" y="23134"/>
                        <a:pt x="24432" y="21798"/>
                        <a:pt x="26257" y="16887"/>
                      </a:cubicBez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3" name="Freeform: Shape 462">
                  <a:extLst>
                    <a:ext uri="{FF2B5EF4-FFF2-40B4-BE49-F238E27FC236}">
                      <a16:creationId xmlns:a16="http://schemas.microsoft.com/office/drawing/2014/main" id="{44682DCE-369E-48F2-9944-E9975B3EAD87}"/>
                    </a:ext>
                  </a:extLst>
                </p:cNvPr>
                <p:cNvSpPr/>
                <p:nvPr/>
              </p:nvSpPr>
              <p:spPr>
                <a:xfrm>
                  <a:off x="7486687" y="2760887"/>
                  <a:ext cx="33560" cy="30370"/>
                </a:xfrm>
                <a:custGeom>
                  <a:avLst/>
                  <a:gdLst>
                    <a:gd name="connsiteX0" fmla="*/ 22567 w 33560"/>
                    <a:gd name="connsiteY0" fmla="*/ 9133 h 30370"/>
                    <a:gd name="connsiteX1" fmla="*/ 14976 w 33560"/>
                    <a:gd name="connsiteY1" fmla="*/ 30371 h 30370"/>
                    <a:gd name="connsiteX2" fmla="*/ 498 w 33560"/>
                    <a:gd name="connsiteY2" fmla="*/ 30371 h 30370"/>
                    <a:gd name="connsiteX3" fmla="*/ 8090 w 33560"/>
                    <a:gd name="connsiteY3" fmla="*/ 9133 h 30370"/>
                    <a:gd name="connsiteX4" fmla="*/ 0 w 33560"/>
                    <a:gd name="connsiteY4" fmla="*/ 9133 h 30370"/>
                    <a:gd name="connsiteX5" fmla="*/ 3277 w 33560"/>
                    <a:gd name="connsiteY5" fmla="*/ 0 h 30370"/>
                    <a:gd name="connsiteX6" fmla="*/ 33560 w 33560"/>
                    <a:gd name="connsiteY6" fmla="*/ 0 h 30370"/>
                    <a:gd name="connsiteX7" fmla="*/ 30283 w 33560"/>
                    <a:gd name="connsiteY7" fmla="*/ 9133 h 30370"/>
                    <a:gd name="connsiteX8" fmla="*/ 22567 w 33560"/>
                    <a:gd name="connsiteY8" fmla="*/ 9133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3560" h="30370">
                      <a:moveTo>
                        <a:pt x="22567" y="9133"/>
                      </a:moveTo>
                      <a:lnTo>
                        <a:pt x="14976" y="30371"/>
                      </a:lnTo>
                      <a:lnTo>
                        <a:pt x="498" y="30371"/>
                      </a:lnTo>
                      <a:lnTo>
                        <a:pt x="8090" y="9133"/>
                      </a:lnTo>
                      <a:lnTo>
                        <a:pt x="0" y="9133"/>
                      </a:lnTo>
                      <a:lnTo>
                        <a:pt x="3277" y="0"/>
                      </a:lnTo>
                      <a:lnTo>
                        <a:pt x="33560" y="0"/>
                      </a:lnTo>
                      <a:lnTo>
                        <a:pt x="30283" y="9133"/>
                      </a:lnTo>
                      <a:lnTo>
                        <a:pt x="22567" y="9133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4" name="Freeform: Shape 463">
                  <a:extLst>
                    <a:ext uri="{FF2B5EF4-FFF2-40B4-BE49-F238E27FC236}">
                      <a16:creationId xmlns:a16="http://schemas.microsoft.com/office/drawing/2014/main" id="{BDD13CB3-8191-4347-8611-F12A5918464F}"/>
                    </a:ext>
                  </a:extLst>
                </p:cNvPr>
                <p:cNvSpPr/>
                <p:nvPr/>
              </p:nvSpPr>
              <p:spPr>
                <a:xfrm>
                  <a:off x="7513568" y="2760887"/>
                  <a:ext cx="46835" cy="30370"/>
                </a:xfrm>
                <a:custGeom>
                  <a:avLst/>
                  <a:gdLst>
                    <a:gd name="connsiteX0" fmla="*/ 25305 w 46835"/>
                    <a:gd name="connsiteY0" fmla="*/ 19730 h 30370"/>
                    <a:gd name="connsiteX1" fmla="*/ 18294 w 46835"/>
                    <a:gd name="connsiteY1" fmla="*/ 19730 h 30370"/>
                    <a:gd name="connsiteX2" fmla="*/ 14478 w 46835"/>
                    <a:gd name="connsiteY2" fmla="*/ 30371 h 30370"/>
                    <a:gd name="connsiteX3" fmla="*/ 0 w 46835"/>
                    <a:gd name="connsiteY3" fmla="*/ 30371 h 30370"/>
                    <a:gd name="connsiteX4" fmla="*/ 10869 w 46835"/>
                    <a:gd name="connsiteY4" fmla="*/ 0 h 30370"/>
                    <a:gd name="connsiteX5" fmla="*/ 25346 w 46835"/>
                    <a:gd name="connsiteY5" fmla="*/ 0 h 30370"/>
                    <a:gd name="connsiteX6" fmla="*/ 21530 w 46835"/>
                    <a:gd name="connsiteY6" fmla="*/ 10641 h 30370"/>
                    <a:gd name="connsiteX7" fmla="*/ 28541 w 46835"/>
                    <a:gd name="connsiteY7" fmla="*/ 10641 h 30370"/>
                    <a:gd name="connsiteX8" fmla="*/ 32357 w 46835"/>
                    <a:gd name="connsiteY8" fmla="*/ 0 h 30370"/>
                    <a:gd name="connsiteX9" fmla="*/ 46835 w 46835"/>
                    <a:gd name="connsiteY9" fmla="*/ 0 h 30370"/>
                    <a:gd name="connsiteX10" fmla="*/ 35967 w 46835"/>
                    <a:gd name="connsiteY10" fmla="*/ 30371 h 30370"/>
                    <a:gd name="connsiteX11" fmla="*/ 21530 w 46835"/>
                    <a:gd name="connsiteY11" fmla="*/ 30371 h 30370"/>
                    <a:gd name="connsiteX12" fmla="*/ 25305 w 46835"/>
                    <a:gd name="connsiteY12" fmla="*/ 19730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6835" h="30370">
                      <a:moveTo>
                        <a:pt x="25305" y="19730"/>
                      </a:moveTo>
                      <a:lnTo>
                        <a:pt x="18294" y="19730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5346" y="0"/>
                      </a:lnTo>
                      <a:lnTo>
                        <a:pt x="21530" y="10641"/>
                      </a:lnTo>
                      <a:lnTo>
                        <a:pt x="28541" y="10641"/>
                      </a:lnTo>
                      <a:lnTo>
                        <a:pt x="32357" y="0"/>
                      </a:lnTo>
                      <a:lnTo>
                        <a:pt x="46835" y="0"/>
                      </a:lnTo>
                      <a:lnTo>
                        <a:pt x="35967" y="30371"/>
                      </a:lnTo>
                      <a:lnTo>
                        <a:pt x="21530" y="30371"/>
                      </a:lnTo>
                      <a:lnTo>
                        <a:pt x="25305" y="1973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5" name="Freeform: Shape 464">
                  <a:extLst>
                    <a:ext uri="{FF2B5EF4-FFF2-40B4-BE49-F238E27FC236}">
                      <a16:creationId xmlns:a16="http://schemas.microsoft.com/office/drawing/2014/main" id="{586546D9-871A-4A8B-9E2C-79B8AF4731BE}"/>
                    </a:ext>
                  </a:extLst>
                </p:cNvPr>
                <p:cNvSpPr/>
                <p:nvPr/>
              </p:nvSpPr>
              <p:spPr>
                <a:xfrm>
                  <a:off x="7555342" y="2760887"/>
                  <a:ext cx="41317" cy="30413"/>
                </a:xfrm>
                <a:custGeom>
                  <a:avLst/>
                  <a:gdLst>
                    <a:gd name="connsiteX0" fmla="*/ 10869 w 41317"/>
                    <a:gd name="connsiteY0" fmla="*/ 0 h 30413"/>
                    <a:gd name="connsiteX1" fmla="*/ 41318 w 41317"/>
                    <a:gd name="connsiteY1" fmla="*/ 0 h 30413"/>
                    <a:gd name="connsiteX2" fmla="*/ 38372 w 41317"/>
                    <a:gd name="connsiteY2" fmla="*/ 8271 h 30413"/>
                    <a:gd name="connsiteX3" fmla="*/ 22360 w 41317"/>
                    <a:gd name="connsiteY3" fmla="*/ 8271 h 30413"/>
                    <a:gd name="connsiteX4" fmla="*/ 21364 w 41317"/>
                    <a:gd name="connsiteY4" fmla="*/ 11028 h 30413"/>
                    <a:gd name="connsiteX5" fmla="*/ 35800 w 41317"/>
                    <a:gd name="connsiteY5" fmla="*/ 11028 h 30413"/>
                    <a:gd name="connsiteX6" fmla="*/ 32772 w 41317"/>
                    <a:gd name="connsiteY6" fmla="*/ 19299 h 30413"/>
                    <a:gd name="connsiteX7" fmla="*/ 18419 w 41317"/>
                    <a:gd name="connsiteY7" fmla="*/ 19299 h 30413"/>
                    <a:gd name="connsiteX8" fmla="*/ 17381 w 41317"/>
                    <a:gd name="connsiteY8" fmla="*/ 22143 h 30413"/>
                    <a:gd name="connsiteX9" fmla="*/ 33394 w 41317"/>
                    <a:gd name="connsiteY9" fmla="*/ 22143 h 30413"/>
                    <a:gd name="connsiteX10" fmla="*/ 30449 w 41317"/>
                    <a:gd name="connsiteY10" fmla="*/ 30414 h 30413"/>
                    <a:gd name="connsiteX11" fmla="*/ 0 w 41317"/>
                    <a:gd name="connsiteY11" fmla="*/ 30414 h 30413"/>
                    <a:gd name="connsiteX12" fmla="*/ 10869 w 41317"/>
                    <a:gd name="connsiteY12" fmla="*/ 0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317" h="30413">
                      <a:moveTo>
                        <a:pt x="10869" y="0"/>
                      </a:moveTo>
                      <a:lnTo>
                        <a:pt x="41318" y="0"/>
                      </a:lnTo>
                      <a:lnTo>
                        <a:pt x="38372" y="8271"/>
                      </a:lnTo>
                      <a:lnTo>
                        <a:pt x="22360" y="8271"/>
                      </a:lnTo>
                      <a:lnTo>
                        <a:pt x="21364" y="11028"/>
                      </a:lnTo>
                      <a:lnTo>
                        <a:pt x="35800" y="11028"/>
                      </a:lnTo>
                      <a:lnTo>
                        <a:pt x="32772" y="19299"/>
                      </a:lnTo>
                      <a:lnTo>
                        <a:pt x="18419" y="19299"/>
                      </a:lnTo>
                      <a:lnTo>
                        <a:pt x="17381" y="22143"/>
                      </a:lnTo>
                      <a:lnTo>
                        <a:pt x="33394" y="22143"/>
                      </a:lnTo>
                      <a:lnTo>
                        <a:pt x="30449" y="30414"/>
                      </a:lnTo>
                      <a:lnTo>
                        <a:pt x="0" y="30414"/>
                      </a:lnTo>
                      <a:lnTo>
                        <a:pt x="10869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6" name="Freeform: Shape 465">
                  <a:extLst>
                    <a:ext uri="{FF2B5EF4-FFF2-40B4-BE49-F238E27FC236}">
                      <a16:creationId xmlns:a16="http://schemas.microsoft.com/office/drawing/2014/main" id="{3E9D907F-1632-4D24-92A9-B03DAF07AA40}"/>
                    </a:ext>
                  </a:extLst>
                </p:cNvPr>
                <p:cNvSpPr/>
                <p:nvPr/>
              </p:nvSpPr>
              <p:spPr>
                <a:xfrm>
                  <a:off x="7590520" y="2760068"/>
                  <a:ext cx="38206" cy="32050"/>
                </a:xfrm>
                <a:custGeom>
                  <a:avLst/>
                  <a:gdLst>
                    <a:gd name="connsiteX0" fmla="*/ 0 w 38206"/>
                    <a:gd name="connsiteY0" fmla="*/ 29768 h 32050"/>
                    <a:gd name="connsiteX1" fmla="*/ 2945 w 38206"/>
                    <a:gd name="connsiteY1" fmla="*/ 21626 h 32050"/>
                    <a:gd name="connsiteX2" fmla="*/ 13689 w 38206"/>
                    <a:gd name="connsiteY2" fmla="*/ 23607 h 32050"/>
                    <a:gd name="connsiteX3" fmla="*/ 19249 w 38206"/>
                    <a:gd name="connsiteY3" fmla="*/ 22229 h 32050"/>
                    <a:gd name="connsiteX4" fmla="*/ 18336 w 38206"/>
                    <a:gd name="connsiteY4" fmla="*/ 20506 h 32050"/>
                    <a:gd name="connsiteX5" fmla="*/ 14188 w 38206"/>
                    <a:gd name="connsiteY5" fmla="*/ 19859 h 32050"/>
                    <a:gd name="connsiteX6" fmla="*/ 6389 w 38206"/>
                    <a:gd name="connsiteY6" fmla="*/ 8831 h 32050"/>
                    <a:gd name="connsiteX7" fmla="*/ 24226 w 38206"/>
                    <a:gd name="connsiteY7" fmla="*/ 0 h 32050"/>
                    <a:gd name="connsiteX8" fmla="*/ 38206 w 38206"/>
                    <a:gd name="connsiteY8" fmla="*/ 2154 h 32050"/>
                    <a:gd name="connsiteX9" fmla="*/ 35303 w 38206"/>
                    <a:gd name="connsiteY9" fmla="*/ 10296 h 32050"/>
                    <a:gd name="connsiteX10" fmla="*/ 24932 w 38206"/>
                    <a:gd name="connsiteY10" fmla="*/ 8443 h 32050"/>
                    <a:gd name="connsiteX11" fmla="*/ 20286 w 38206"/>
                    <a:gd name="connsiteY11" fmla="*/ 9650 h 32050"/>
                    <a:gd name="connsiteX12" fmla="*/ 21115 w 38206"/>
                    <a:gd name="connsiteY12" fmla="*/ 11114 h 32050"/>
                    <a:gd name="connsiteX13" fmla="*/ 25263 w 38206"/>
                    <a:gd name="connsiteY13" fmla="*/ 11761 h 32050"/>
                    <a:gd name="connsiteX14" fmla="*/ 33021 w 38206"/>
                    <a:gd name="connsiteY14" fmla="*/ 23349 h 32050"/>
                    <a:gd name="connsiteX15" fmla="*/ 15349 w 38206"/>
                    <a:gd name="connsiteY15" fmla="*/ 32051 h 32050"/>
                    <a:gd name="connsiteX16" fmla="*/ 0 w 38206"/>
                    <a:gd name="connsiteY16" fmla="*/ 29768 h 32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8206" h="32050">
                      <a:moveTo>
                        <a:pt x="0" y="29768"/>
                      </a:moveTo>
                      <a:lnTo>
                        <a:pt x="2945" y="21626"/>
                      </a:lnTo>
                      <a:cubicBezTo>
                        <a:pt x="5476" y="22703"/>
                        <a:pt x="10122" y="23607"/>
                        <a:pt x="13689" y="23607"/>
                      </a:cubicBezTo>
                      <a:cubicBezTo>
                        <a:pt x="17589" y="23607"/>
                        <a:pt x="18709" y="23392"/>
                        <a:pt x="19249" y="22229"/>
                      </a:cubicBezTo>
                      <a:cubicBezTo>
                        <a:pt x="19705" y="21195"/>
                        <a:pt x="19124" y="20635"/>
                        <a:pt x="18336" y="20506"/>
                      </a:cubicBezTo>
                      <a:lnTo>
                        <a:pt x="14188" y="19859"/>
                      </a:lnTo>
                      <a:cubicBezTo>
                        <a:pt x="5973" y="18610"/>
                        <a:pt x="4397" y="14475"/>
                        <a:pt x="6389" y="8831"/>
                      </a:cubicBezTo>
                      <a:cubicBezTo>
                        <a:pt x="8711" y="2283"/>
                        <a:pt x="15100" y="0"/>
                        <a:pt x="24226" y="0"/>
                      </a:cubicBezTo>
                      <a:cubicBezTo>
                        <a:pt x="30200" y="0"/>
                        <a:pt x="34307" y="732"/>
                        <a:pt x="38206" y="2154"/>
                      </a:cubicBezTo>
                      <a:lnTo>
                        <a:pt x="35303" y="10296"/>
                      </a:lnTo>
                      <a:cubicBezTo>
                        <a:pt x="33021" y="9391"/>
                        <a:pt x="28873" y="8443"/>
                        <a:pt x="24932" y="8443"/>
                      </a:cubicBezTo>
                      <a:cubicBezTo>
                        <a:pt x="21820" y="8443"/>
                        <a:pt x="20659" y="8616"/>
                        <a:pt x="20286" y="9650"/>
                      </a:cubicBezTo>
                      <a:cubicBezTo>
                        <a:pt x="19912" y="10641"/>
                        <a:pt x="20327" y="10985"/>
                        <a:pt x="21115" y="11114"/>
                      </a:cubicBezTo>
                      <a:lnTo>
                        <a:pt x="25263" y="11761"/>
                      </a:lnTo>
                      <a:cubicBezTo>
                        <a:pt x="33602" y="13010"/>
                        <a:pt x="35261" y="17447"/>
                        <a:pt x="33021" y="23349"/>
                      </a:cubicBezTo>
                      <a:cubicBezTo>
                        <a:pt x="30490" y="30112"/>
                        <a:pt x="24351" y="32051"/>
                        <a:pt x="15349" y="32051"/>
                      </a:cubicBezTo>
                      <a:cubicBezTo>
                        <a:pt x="8753" y="32051"/>
                        <a:pt x="4190" y="31319"/>
                        <a:pt x="0" y="29768"/>
                      </a:cubicBez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7" name="Freeform: Shape 466">
                  <a:extLst>
                    <a:ext uri="{FF2B5EF4-FFF2-40B4-BE49-F238E27FC236}">
                      <a16:creationId xmlns:a16="http://schemas.microsoft.com/office/drawing/2014/main" id="{5C94772C-13BB-49B1-980F-A722460B46EB}"/>
                    </a:ext>
                  </a:extLst>
                </p:cNvPr>
                <p:cNvSpPr/>
                <p:nvPr/>
              </p:nvSpPr>
              <p:spPr>
                <a:xfrm>
                  <a:off x="7624661" y="2760887"/>
                  <a:ext cx="25346" cy="30370"/>
                </a:xfrm>
                <a:custGeom>
                  <a:avLst/>
                  <a:gdLst>
                    <a:gd name="connsiteX0" fmla="*/ 0 w 25346"/>
                    <a:gd name="connsiteY0" fmla="*/ 30371 h 30370"/>
                    <a:gd name="connsiteX1" fmla="*/ 10869 w 25346"/>
                    <a:gd name="connsiteY1" fmla="*/ 0 h 30370"/>
                    <a:gd name="connsiteX2" fmla="*/ 25346 w 25346"/>
                    <a:gd name="connsiteY2" fmla="*/ 0 h 30370"/>
                    <a:gd name="connsiteX3" fmla="*/ 14478 w 25346"/>
                    <a:gd name="connsiteY3" fmla="*/ 30371 h 30370"/>
                    <a:gd name="connsiteX4" fmla="*/ 0 w 25346"/>
                    <a:gd name="connsiteY4" fmla="*/ 303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346" h="30370">
                      <a:moveTo>
                        <a:pt x="0" y="30371"/>
                      </a:moveTo>
                      <a:lnTo>
                        <a:pt x="10869" y="0"/>
                      </a:lnTo>
                      <a:lnTo>
                        <a:pt x="25346" y="0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8" name="Freeform: Shape 467">
                  <a:extLst>
                    <a:ext uri="{FF2B5EF4-FFF2-40B4-BE49-F238E27FC236}">
                      <a16:creationId xmlns:a16="http://schemas.microsoft.com/office/drawing/2014/main" id="{6832EC4A-0F6A-40D4-96A9-A1E0945D905E}"/>
                    </a:ext>
                  </a:extLst>
                </p:cNvPr>
                <p:cNvSpPr/>
                <p:nvPr/>
              </p:nvSpPr>
              <p:spPr>
                <a:xfrm>
                  <a:off x="7644698" y="2760068"/>
                  <a:ext cx="38165" cy="32050"/>
                </a:xfrm>
                <a:custGeom>
                  <a:avLst/>
                  <a:gdLst>
                    <a:gd name="connsiteX0" fmla="*/ 0 w 38165"/>
                    <a:gd name="connsiteY0" fmla="*/ 29768 h 32050"/>
                    <a:gd name="connsiteX1" fmla="*/ 2946 w 38165"/>
                    <a:gd name="connsiteY1" fmla="*/ 21626 h 32050"/>
                    <a:gd name="connsiteX2" fmla="*/ 13690 w 38165"/>
                    <a:gd name="connsiteY2" fmla="*/ 23607 h 32050"/>
                    <a:gd name="connsiteX3" fmla="*/ 19249 w 38165"/>
                    <a:gd name="connsiteY3" fmla="*/ 22229 h 32050"/>
                    <a:gd name="connsiteX4" fmla="*/ 18336 w 38165"/>
                    <a:gd name="connsiteY4" fmla="*/ 20506 h 32050"/>
                    <a:gd name="connsiteX5" fmla="*/ 14188 w 38165"/>
                    <a:gd name="connsiteY5" fmla="*/ 19859 h 32050"/>
                    <a:gd name="connsiteX6" fmla="*/ 6389 w 38165"/>
                    <a:gd name="connsiteY6" fmla="*/ 8831 h 32050"/>
                    <a:gd name="connsiteX7" fmla="*/ 24227 w 38165"/>
                    <a:gd name="connsiteY7" fmla="*/ 0 h 32050"/>
                    <a:gd name="connsiteX8" fmla="*/ 38165 w 38165"/>
                    <a:gd name="connsiteY8" fmla="*/ 2154 h 32050"/>
                    <a:gd name="connsiteX9" fmla="*/ 35261 w 38165"/>
                    <a:gd name="connsiteY9" fmla="*/ 10296 h 32050"/>
                    <a:gd name="connsiteX10" fmla="*/ 24890 w 38165"/>
                    <a:gd name="connsiteY10" fmla="*/ 8443 h 32050"/>
                    <a:gd name="connsiteX11" fmla="*/ 20244 w 38165"/>
                    <a:gd name="connsiteY11" fmla="*/ 9650 h 32050"/>
                    <a:gd name="connsiteX12" fmla="*/ 21074 w 38165"/>
                    <a:gd name="connsiteY12" fmla="*/ 11114 h 32050"/>
                    <a:gd name="connsiteX13" fmla="*/ 25222 w 38165"/>
                    <a:gd name="connsiteY13" fmla="*/ 11761 h 32050"/>
                    <a:gd name="connsiteX14" fmla="*/ 32980 w 38165"/>
                    <a:gd name="connsiteY14" fmla="*/ 23349 h 32050"/>
                    <a:gd name="connsiteX15" fmla="*/ 15308 w 38165"/>
                    <a:gd name="connsiteY15" fmla="*/ 32051 h 32050"/>
                    <a:gd name="connsiteX16" fmla="*/ 0 w 38165"/>
                    <a:gd name="connsiteY16" fmla="*/ 29768 h 32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8165" h="32050">
                      <a:moveTo>
                        <a:pt x="0" y="29768"/>
                      </a:moveTo>
                      <a:lnTo>
                        <a:pt x="2946" y="21626"/>
                      </a:lnTo>
                      <a:cubicBezTo>
                        <a:pt x="5476" y="22703"/>
                        <a:pt x="10122" y="23607"/>
                        <a:pt x="13690" y="23607"/>
                      </a:cubicBezTo>
                      <a:cubicBezTo>
                        <a:pt x="17589" y="23607"/>
                        <a:pt x="18709" y="23392"/>
                        <a:pt x="19249" y="22229"/>
                      </a:cubicBezTo>
                      <a:cubicBezTo>
                        <a:pt x="19705" y="21195"/>
                        <a:pt x="19124" y="20635"/>
                        <a:pt x="18336" y="20506"/>
                      </a:cubicBezTo>
                      <a:lnTo>
                        <a:pt x="14188" y="19859"/>
                      </a:lnTo>
                      <a:cubicBezTo>
                        <a:pt x="5974" y="18610"/>
                        <a:pt x="4398" y="14475"/>
                        <a:pt x="6389" y="8831"/>
                      </a:cubicBezTo>
                      <a:cubicBezTo>
                        <a:pt x="8712" y="2283"/>
                        <a:pt x="15100" y="0"/>
                        <a:pt x="24227" y="0"/>
                      </a:cubicBezTo>
                      <a:cubicBezTo>
                        <a:pt x="30200" y="0"/>
                        <a:pt x="34307" y="732"/>
                        <a:pt x="38165" y="2154"/>
                      </a:cubicBezTo>
                      <a:lnTo>
                        <a:pt x="35261" y="10296"/>
                      </a:lnTo>
                      <a:cubicBezTo>
                        <a:pt x="32980" y="9391"/>
                        <a:pt x="28831" y="8443"/>
                        <a:pt x="24890" y="8443"/>
                      </a:cubicBezTo>
                      <a:cubicBezTo>
                        <a:pt x="21779" y="8443"/>
                        <a:pt x="20618" y="8616"/>
                        <a:pt x="20244" y="9650"/>
                      </a:cubicBezTo>
                      <a:cubicBezTo>
                        <a:pt x="19871" y="10641"/>
                        <a:pt x="20286" y="10985"/>
                        <a:pt x="21074" y="11114"/>
                      </a:cubicBezTo>
                      <a:lnTo>
                        <a:pt x="25222" y="11761"/>
                      </a:lnTo>
                      <a:cubicBezTo>
                        <a:pt x="33561" y="13010"/>
                        <a:pt x="35220" y="17447"/>
                        <a:pt x="32980" y="23349"/>
                      </a:cubicBezTo>
                      <a:cubicBezTo>
                        <a:pt x="30449" y="30112"/>
                        <a:pt x="24310" y="32051"/>
                        <a:pt x="15308" y="32051"/>
                      </a:cubicBezTo>
                      <a:cubicBezTo>
                        <a:pt x="8712" y="32051"/>
                        <a:pt x="4190" y="31319"/>
                        <a:pt x="0" y="29768"/>
                      </a:cubicBez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469" name="Freeform: Shape 468">
            <a:extLst>
              <a:ext uri="{FF2B5EF4-FFF2-40B4-BE49-F238E27FC236}">
                <a16:creationId xmlns:a16="http://schemas.microsoft.com/office/drawing/2014/main" id="{657DB5AF-2D70-4418-9D1E-880898AE112E}"/>
              </a:ext>
            </a:extLst>
          </p:cNvPr>
          <p:cNvSpPr/>
          <p:nvPr/>
        </p:nvSpPr>
        <p:spPr>
          <a:xfrm>
            <a:off x="1532280" y="2913172"/>
            <a:ext cx="1556966" cy="127643"/>
          </a:xfrm>
          <a:custGeom>
            <a:avLst/>
            <a:gdLst>
              <a:gd name="connsiteX0" fmla="*/ 0 w 1556966"/>
              <a:gd name="connsiteY0" fmla="*/ 0 h 127643"/>
              <a:gd name="connsiteX1" fmla="*/ 1556967 w 1556966"/>
              <a:gd name="connsiteY1" fmla="*/ 0 h 127643"/>
              <a:gd name="connsiteX2" fmla="*/ 1556967 w 1556966"/>
              <a:gd name="connsiteY2" fmla="*/ 127644 h 127643"/>
              <a:gd name="connsiteX3" fmla="*/ 0 w 1556966"/>
              <a:gd name="connsiteY3" fmla="*/ 127644 h 127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56966" h="127643">
                <a:moveTo>
                  <a:pt x="0" y="0"/>
                </a:moveTo>
                <a:lnTo>
                  <a:pt x="1556967" y="0"/>
                </a:lnTo>
                <a:lnTo>
                  <a:pt x="1556967" y="127644"/>
                </a:lnTo>
                <a:lnTo>
                  <a:pt x="0" y="127644"/>
                </a:lnTo>
                <a:close/>
              </a:path>
            </a:pathLst>
          </a:custGeom>
          <a:noFill/>
          <a:ln w="414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470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68966" y="2361500"/>
            <a:ext cx="407820" cy="452503"/>
            <a:chOff x="68966" y="2361500"/>
            <a:chExt cx="407820" cy="452503"/>
          </a:xfrm>
          <a:solidFill>
            <a:schemeClr val="accent1"/>
          </a:solidFill>
        </p:grpSpPr>
        <p:grpSp>
          <p:nvGrpSpPr>
            <p:cNvPr id="471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139837" y="2442704"/>
              <a:ext cx="268151" cy="371299"/>
              <a:chOff x="139837" y="2442704"/>
              <a:chExt cx="268151" cy="371299"/>
            </a:xfrm>
            <a:solidFill>
              <a:schemeClr val="accent1"/>
            </a:solidFill>
          </p:grpSpPr>
          <p:grpSp>
            <p:nvGrpSpPr>
              <p:cNvPr id="472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139837" y="2442704"/>
                <a:ext cx="268151" cy="371299"/>
                <a:chOff x="139837" y="2442704"/>
                <a:chExt cx="268151" cy="371299"/>
              </a:xfrm>
              <a:solidFill>
                <a:schemeClr val="accent1"/>
              </a:solidFill>
            </p:grpSpPr>
            <p:sp>
              <p:nvSpPr>
                <p:cNvPr id="473" name="Freeform: Shape 472">
                  <a:extLst>
                    <a:ext uri="{FF2B5EF4-FFF2-40B4-BE49-F238E27FC236}">
                      <a16:creationId xmlns:a16="http://schemas.microsoft.com/office/drawing/2014/main" id="{A9A62D39-F94D-47D1-BEF7-8E1963E9F0C3}"/>
                    </a:ext>
                  </a:extLst>
                </p:cNvPr>
                <p:cNvSpPr/>
                <p:nvPr/>
              </p:nvSpPr>
              <p:spPr>
                <a:xfrm>
                  <a:off x="139837" y="2442704"/>
                  <a:ext cx="268151" cy="325894"/>
                </a:xfrm>
                <a:custGeom>
                  <a:avLst/>
                  <a:gdLst>
                    <a:gd name="connsiteX0" fmla="*/ 268152 w 268151"/>
                    <a:gd name="connsiteY0" fmla="*/ 129927 h 325894"/>
                    <a:gd name="connsiteX1" fmla="*/ 134076 w 268151"/>
                    <a:gd name="connsiteY1" fmla="*/ 0 h 325894"/>
                    <a:gd name="connsiteX2" fmla="*/ 1 w 268151"/>
                    <a:gd name="connsiteY2" fmla="*/ 130358 h 325894"/>
                    <a:gd name="connsiteX3" fmla="*/ 39162 w 268151"/>
                    <a:gd name="connsiteY3" fmla="*/ 221643 h 325894"/>
                    <a:gd name="connsiteX4" fmla="*/ 78571 w 268151"/>
                    <a:gd name="connsiteY4" fmla="*/ 287166 h 325894"/>
                    <a:gd name="connsiteX5" fmla="*/ 89398 w 268151"/>
                    <a:gd name="connsiteY5" fmla="*/ 325894 h 325894"/>
                    <a:gd name="connsiteX6" fmla="*/ 177302 w 268151"/>
                    <a:gd name="connsiteY6" fmla="*/ 325894 h 325894"/>
                    <a:gd name="connsiteX7" fmla="*/ 187549 w 268151"/>
                    <a:gd name="connsiteY7" fmla="*/ 289191 h 325894"/>
                    <a:gd name="connsiteX8" fmla="*/ 228161 w 268151"/>
                    <a:gd name="connsiteY8" fmla="*/ 222504 h 325894"/>
                    <a:gd name="connsiteX9" fmla="*/ 268152 w 268151"/>
                    <a:gd name="connsiteY9" fmla="*/ 129927 h 3258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68151" h="325894">
                      <a:moveTo>
                        <a:pt x="268152" y="129927"/>
                      </a:moveTo>
                      <a:cubicBezTo>
                        <a:pt x="268152" y="58157"/>
                        <a:pt x="208125" y="0"/>
                        <a:pt x="134076" y="0"/>
                      </a:cubicBezTo>
                      <a:cubicBezTo>
                        <a:pt x="60028" y="0"/>
                        <a:pt x="-289" y="58631"/>
                        <a:pt x="1" y="130358"/>
                      </a:cubicBezTo>
                      <a:cubicBezTo>
                        <a:pt x="125" y="165984"/>
                        <a:pt x="15060" y="198207"/>
                        <a:pt x="39162" y="221643"/>
                      </a:cubicBezTo>
                      <a:cubicBezTo>
                        <a:pt x="57912" y="239865"/>
                        <a:pt x="71643" y="262352"/>
                        <a:pt x="78571" y="287166"/>
                      </a:cubicBezTo>
                      <a:lnTo>
                        <a:pt x="89398" y="325894"/>
                      </a:lnTo>
                      <a:lnTo>
                        <a:pt x="177302" y="325894"/>
                      </a:lnTo>
                      <a:lnTo>
                        <a:pt x="187549" y="289191"/>
                      </a:lnTo>
                      <a:cubicBezTo>
                        <a:pt x="194643" y="263817"/>
                        <a:pt x="208830" y="240942"/>
                        <a:pt x="228161" y="222504"/>
                      </a:cubicBezTo>
                      <a:cubicBezTo>
                        <a:pt x="252803" y="198983"/>
                        <a:pt x="268152" y="166200"/>
                        <a:pt x="268152" y="129927"/>
                      </a:cubicBezTo>
                      <a:close/>
                    </a:path>
                  </a:pathLst>
                </a:custGeom>
                <a:solidFill>
                  <a:srgbClr val="F5D342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4" name="Freeform: Shape 473">
                  <a:extLst>
                    <a:ext uri="{FF2B5EF4-FFF2-40B4-BE49-F238E27FC236}">
                      <a16:creationId xmlns:a16="http://schemas.microsoft.com/office/drawing/2014/main" id="{A470ED3E-42E0-45B3-A5DB-E2D0668BC68E}"/>
                    </a:ext>
                  </a:extLst>
                </p:cNvPr>
                <p:cNvSpPr/>
                <p:nvPr/>
              </p:nvSpPr>
              <p:spPr>
                <a:xfrm>
                  <a:off x="224506" y="2751108"/>
                  <a:ext cx="97071" cy="62895"/>
                </a:xfrm>
                <a:custGeom>
                  <a:avLst/>
                  <a:gdLst>
                    <a:gd name="connsiteX0" fmla="*/ 69693 w 97071"/>
                    <a:gd name="connsiteY0" fmla="*/ 62896 h 62895"/>
                    <a:gd name="connsiteX1" fmla="*/ 26840 w 97071"/>
                    <a:gd name="connsiteY1" fmla="*/ 62896 h 62895"/>
                    <a:gd name="connsiteX2" fmla="*/ 3609 w 97071"/>
                    <a:gd name="connsiteY2" fmla="*/ 43165 h 62895"/>
                    <a:gd name="connsiteX3" fmla="*/ 0 w 97071"/>
                    <a:gd name="connsiteY3" fmla="*/ 603 h 62895"/>
                    <a:gd name="connsiteX4" fmla="*/ 97072 w 97071"/>
                    <a:gd name="connsiteY4" fmla="*/ 0 h 62895"/>
                    <a:gd name="connsiteX5" fmla="*/ 92924 w 97071"/>
                    <a:gd name="connsiteY5" fmla="*/ 43165 h 62895"/>
                    <a:gd name="connsiteX6" fmla="*/ 69693 w 97071"/>
                    <a:gd name="connsiteY6" fmla="*/ 62896 h 62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7071" h="62895">
                      <a:moveTo>
                        <a:pt x="69693" y="62896"/>
                      </a:moveTo>
                      <a:lnTo>
                        <a:pt x="26840" y="62896"/>
                      </a:lnTo>
                      <a:cubicBezTo>
                        <a:pt x="14685" y="62896"/>
                        <a:pt x="4314" y="54194"/>
                        <a:pt x="3609" y="43165"/>
                      </a:cubicBezTo>
                      <a:lnTo>
                        <a:pt x="0" y="603"/>
                      </a:lnTo>
                      <a:lnTo>
                        <a:pt x="97072" y="0"/>
                      </a:lnTo>
                      <a:lnTo>
                        <a:pt x="92924" y="43165"/>
                      </a:lnTo>
                      <a:cubicBezTo>
                        <a:pt x="92218" y="54237"/>
                        <a:pt x="81847" y="62896"/>
                        <a:pt x="69693" y="62896"/>
                      </a:cubicBezTo>
                      <a:close/>
                    </a:path>
                  </a:pathLst>
                </a:custGeom>
                <a:solidFill>
                  <a:srgbClr val="5A5A5C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475" name="Freeform: Shape 474">
                <a:extLst>
                  <a:ext uri="{FF2B5EF4-FFF2-40B4-BE49-F238E27FC236}">
                    <a16:creationId xmlns:a16="http://schemas.microsoft.com/office/drawing/2014/main" id="{735786E2-5039-4EC5-8E77-9C3B21E33C9B}"/>
                  </a:ext>
                </a:extLst>
              </p:cNvPr>
              <p:cNvSpPr/>
              <p:nvPr/>
            </p:nvSpPr>
            <p:spPr>
              <a:xfrm>
                <a:off x="229664" y="2769716"/>
                <a:ext cx="85563" cy="4784"/>
              </a:xfrm>
              <a:custGeom>
                <a:avLst/>
                <a:gdLst>
                  <a:gd name="connsiteX0" fmla="*/ 83161 w 85563"/>
                  <a:gd name="connsiteY0" fmla="*/ 3 h 4784"/>
                  <a:gd name="connsiteX1" fmla="*/ 1728 w 85563"/>
                  <a:gd name="connsiteY1" fmla="*/ 950 h 4784"/>
                  <a:gd name="connsiteX2" fmla="*/ 1853 w 85563"/>
                  <a:gd name="connsiteY2" fmla="*/ 4526 h 4784"/>
                  <a:gd name="connsiteX3" fmla="*/ 83327 w 85563"/>
                  <a:gd name="connsiteY3" fmla="*/ 4612 h 4784"/>
                  <a:gd name="connsiteX4" fmla="*/ 83161 w 85563"/>
                  <a:gd name="connsiteY4" fmla="*/ 3 h 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63" h="4784">
                    <a:moveTo>
                      <a:pt x="83161" y="3"/>
                    </a:moveTo>
                    <a:cubicBezTo>
                      <a:pt x="56031" y="1123"/>
                      <a:pt x="28817" y="-213"/>
                      <a:pt x="1728" y="950"/>
                    </a:cubicBezTo>
                    <a:cubicBezTo>
                      <a:pt x="-678" y="1036"/>
                      <a:pt x="-512" y="4440"/>
                      <a:pt x="1853" y="4526"/>
                    </a:cubicBezTo>
                    <a:cubicBezTo>
                      <a:pt x="28983" y="5387"/>
                      <a:pt x="56197" y="3750"/>
                      <a:pt x="83327" y="4612"/>
                    </a:cubicBezTo>
                    <a:cubicBezTo>
                      <a:pt x="86397" y="4698"/>
                      <a:pt x="86272" y="-127"/>
                      <a:pt x="83161" y="3"/>
                    </a:cubicBezTo>
                    <a:close/>
                  </a:path>
                </a:pathLst>
              </a:custGeom>
              <a:solidFill>
                <a:srgbClr val="808183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6" name="Freeform: Shape 475">
                <a:extLst>
                  <a:ext uri="{FF2B5EF4-FFF2-40B4-BE49-F238E27FC236}">
                    <a16:creationId xmlns:a16="http://schemas.microsoft.com/office/drawing/2014/main" id="{46377C62-EC6C-40BE-A600-DBF27735E989}"/>
                  </a:ext>
                </a:extLst>
              </p:cNvPr>
              <p:cNvSpPr/>
              <p:nvPr/>
            </p:nvSpPr>
            <p:spPr>
              <a:xfrm>
                <a:off x="229664" y="2781132"/>
                <a:ext cx="85563" cy="4784"/>
              </a:xfrm>
              <a:custGeom>
                <a:avLst/>
                <a:gdLst>
                  <a:gd name="connsiteX0" fmla="*/ 83161 w 85563"/>
                  <a:gd name="connsiteY0" fmla="*/ 3 h 4784"/>
                  <a:gd name="connsiteX1" fmla="*/ 1728 w 85563"/>
                  <a:gd name="connsiteY1" fmla="*/ 950 h 4784"/>
                  <a:gd name="connsiteX2" fmla="*/ 1853 w 85563"/>
                  <a:gd name="connsiteY2" fmla="*/ 4526 h 4784"/>
                  <a:gd name="connsiteX3" fmla="*/ 83327 w 85563"/>
                  <a:gd name="connsiteY3" fmla="*/ 4612 h 4784"/>
                  <a:gd name="connsiteX4" fmla="*/ 83161 w 85563"/>
                  <a:gd name="connsiteY4" fmla="*/ 3 h 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563" h="4784">
                    <a:moveTo>
                      <a:pt x="83161" y="3"/>
                    </a:moveTo>
                    <a:cubicBezTo>
                      <a:pt x="56031" y="1123"/>
                      <a:pt x="28817" y="-213"/>
                      <a:pt x="1728" y="950"/>
                    </a:cubicBezTo>
                    <a:cubicBezTo>
                      <a:pt x="-678" y="1036"/>
                      <a:pt x="-512" y="4440"/>
                      <a:pt x="1853" y="4526"/>
                    </a:cubicBezTo>
                    <a:cubicBezTo>
                      <a:pt x="28983" y="5387"/>
                      <a:pt x="56197" y="3750"/>
                      <a:pt x="83327" y="4612"/>
                    </a:cubicBezTo>
                    <a:cubicBezTo>
                      <a:pt x="86397" y="4698"/>
                      <a:pt x="86272" y="-127"/>
                      <a:pt x="83161" y="3"/>
                    </a:cubicBezTo>
                    <a:close/>
                  </a:path>
                </a:pathLst>
              </a:custGeom>
              <a:solidFill>
                <a:srgbClr val="808183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477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68966" y="2361500"/>
              <a:ext cx="407820" cy="196127"/>
              <a:chOff x="68966" y="2361500"/>
              <a:chExt cx="407820" cy="196127"/>
            </a:xfrm>
            <a:solidFill>
              <a:srgbClr val="F5D342"/>
            </a:solidFill>
          </p:grpSpPr>
          <p:sp>
            <p:nvSpPr>
              <p:cNvPr id="478" name="Freeform: Shape 477">
                <a:extLst>
                  <a:ext uri="{FF2B5EF4-FFF2-40B4-BE49-F238E27FC236}">
                    <a16:creationId xmlns:a16="http://schemas.microsoft.com/office/drawing/2014/main" id="{1258917C-E880-4954-9CA5-CDF45FE47012}"/>
                  </a:ext>
                </a:extLst>
              </p:cNvPr>
              <p:cNvSpPr/>
              <p:nvPr/>
            </p:nvSpPr>
            <p:spPr>
              <a:xfrm>
                <a:off x="264331" y="2361500"/>
                <a:ext cx="20492" cy="53633"/>
              </a:xfrm>
              <a:custGeom>
                <a:avLst/>
                <a:gdLst>
                  <a:gd name="connsiteX0" fmla="*/ 20493 w 20492"/>
                  <a:gd name="connsiteY0" fmla="*/ 15164 h 53633"/>
                  <a:gd name="connsiteX1" fmla="*/ 10246 w 20492"/>
                  <a:gd name="connsiteY1" fmla="*/ 53634 h 53633"/>
                  <a:gd name="connsiteX2" fmla="*/ 0 w 20492"/>
                  <a:gd name="connsiteY2" fmla="*/ 15164 h 53633"/>
                  <a:gd name="connsiteX3" fmla="*/ 10246 w 20492"/>
                  <a:gd name="connsiteY3" fmla="*/ 0 h 53633"/>
                  <a:gd name="connsiteX4" fmla="*/ 20493 w 20492"/>
                  <a:gd name="connsiteY4" fmla="*/ 15164 h 53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492" h="53633">
                    <a:moveTo>
                      <a:pt x="20493" y="15164"/>
                    </a:moveTo>
                    <a:cubicBezTo>
                      <a:pt x="20493" y="23521"/>
                      <a:pt x="15888" y="53634"/>
                      <a:pt x="10246" y="53634"/>
                    </a:cubicBezTo>
                    <a:cubicBezTo>
                      <a:pt x="4605" y="53634"/>
                      <a:pt x="0" y="23521"/>
                      <a:pt x="0" y="15164"/>
                    </a:cubicBezTo>
                    <a:cubicBezTo>
                      <a:pt x="0" y="6806"/>
                      <a:pt x="4605" y="0"/>
                      <a:pt x="10246" y="0"/>
                    </a:cubicBezTo>
                    <a:cubicBezTo>
                      <a:pt x="15888" y="0"/>
                      <a:pt x="20493" y="6806"/>
                      <a:pt x="20493" y="15164"/>
                    </a:cubicBezTo>
                    <a:close/>
                  </a:path>
                </a:pathLst>
              </a:custGeom>
              <a:solidFill>
                <a:srgbClr val="F5D342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9" name="Freeform: Shape 478">
                <a:extLst>
                  <a:ext uri="{FF2B5EF4-FFF2-40B4-BE49-F238E27FC236}">
                    <a16:creationId xmlns:a16="http://schemas.microsoft.com/office/drawing/2014/main" id="{01B6B367-457C-4DEF-B424-0EF42637EE1B}"/>
                  </a:ext>
                </a:extLst>
              </p:cNvPr>
              <p:cNvSpPr/>
              <p:nvPr/>
            </p:nvSpPr>
            <p:spPr>
              <a:xfrm>
                <a:off x="388798" y="2417996"/>
                <a:ext cx="44176" cy="38181"/>
              </a:xfrm>
              <a:custGeom>
                <a:avLst/>
                <a:gdLst>
                  <a:gd name="connsiteX0" fmla="*/ 23878 w 44176"/>
                  <a:gd name="connsiteY0" fmla="*/ 4891 h 38181"/>
                  <a:gd name="connsiteX1" fmla="*/ 440 w 44176"/>
                  <a:gd name="connsiteY1" fmla="*/ 37502 h 38181"/>
                  <a:gd name="connsiteX2" fmla="*/ 37236 w 44176"/>
                  <a:gd name="connsiteY2" fmla="*/ 19969 h 38181"/>
                  <a:gd name="connsiteX3" fmla="*/ 42421 w 44176"/>
                  <a:gd name="connsiteY3" fmla="*/ 2565 h 38181"/>
                  <a:gd name="connsiteX4" fmla="*/ 23878 w 44176"/>
                  <a:gd name="connsiteY4" fmla="*/ 4891 h 38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176" h="38181">
                    <a:moveTo>
                      <a:pt x="23878" y="4891"/>
                    </a:moveTo>
                    <a:cubicBezTo>
                      <a:pt x="17324" y="10362"/>
                      <a:pt x="-3252" y="33323"/>
                      <a:pt x="440" y="37502"/>
                    </a:cubicBezTo>
                    <a:cubicBezTo>
                      <a:pt x="4132" y="41681"/>
                      <a:pt x="30681" y="25440"/>
                      <a:pt x="37236" y="19969"/>
                    </a:cubicBezTo>
                    <a:cubicBezTo>
                      <a:pt x="43790" y="14498"/>
                      <a:pt x="46113" y="6700"/>
                      <a:pt x="42421" y="2565"/>
                    </a:cubicBezTo>
                    <a:cubicBezTo>
                      <a:pt x="38771" y="-1614"/>
                      <a:pt x="30433" y="-580"/>
                      <a:pt x="23878" y="4891"/>
                    </a:cubicBezTo>
                    <a:close/>
                  </a:path>
                </a:pathLst>
              </a:custGeom>
              <a:solidFill>
                <a:srgbClr val="F5D342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0" name="Freeform: Shape 479">
                <a:extLst>
                  <a:ext uri="{FF2B5EF4-FFF2-40B4-BE49-F238E27FC236}">
                    <a16:creationId xmlns:a16="http://schemas.microsoft.com/office/drawing/2014/main" id="{7EACFC8A-E3A6-4287-BEAA-BE3772D9BCEB}"/>
                  </a:ext>
                </a:extLst>
              </p:cNvPr>
              <p:cNvSpPr/>
              <p:nvPr/>
            </p:nvSpPr>
            <p:spPr>
              <a:xfrm>
                <a:off x="421832" y="2537342"/>
                <a:ext cx="54954" cy="20285"/>
              </a:xfrm>
              <a:custGeom>
                <a:avLst/>
                <a:gdLst>
                  <a:gd name="connsiteX0" fmla="*/ 40708 w 54954"/>
                  <a:gd name="connsiteY0" fmla="*/ 19867 h 20285"/>
                  <a:gd name="connsiteX1" fmla="*/ 12 w 54954"/>
                  <a:gd name="connsiteY1" fmla="*/ 14870 h 20285"/>
                  <a:gd name="connsiteX2" fmla="*/ 38094 w 54954"/>
                  <a:gd name="connsiteY2" fmla="*/ 180 h 20285"/>
                  <a:gd name="connsiteX3" fmla="*/ 54895 w 54954"/>
                  <a:gd name="connsiteY3" fmla="*/ 8149 h 20285"/>
                  <a:gd name="connsiteX4" fmla="*/ 40708 w 54954"/>
                  <a:gd name="connsiteY4" fmla="*/ 19867 h 2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954" h="20285">
                    <a:moveTo>
                      <a:pt x="40708" y="19867"/>
                    </a:moveTo>
                    <a:cubicBezTo>
                      <a:pt x="32121" y="20901"/>
                      <a:pt x="759" y="20298"/>
                      <a:pt x="12" y="14870"/>
                    </a:cubicBezTo>
                    <a:cubicBezTo>
                      <a:pt x="-693" y="9442"/>
                      <a:pt x="29549" y="1213"/>
                      <a:pt x="38094" y="180"/>
                    </a:cubicBezTo>
                    <a:cubicBezTo>
                      <a:pt x="46681" y="-854"/>
                      <a:pt x="54190" y="2678"/>
                      <a:pt x="54895" y="8149"/>
                    </a:cubicBezTo>
                    <a:cubicBezTo>
                      <a:pt x="55642" y="13534"/>
                      <a:pt x="49295" y="18790"/>
                      <a:pt x="40708" y="19867"/>
                    </a:cubicBezTo>
                    <a:close/>
                  </a:path>
                </a:pathLst>
              </a:custGeom>
              <a:solidFill>
                <a:srgbClr val="F5D342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1" name="Freeform: Shape 480">
                <a:extLst>
                  <a:ext uri="{FF2B5EF4-FFF2-40B4-BE49-F238E27FC236}">
                    <a16:creationId xmlns:a16="http://schemas.microsoft.com/office/drawing/2014/main" id="{0199D125-A3A4-454D-8011-35B067170CA7}"/>
                  </a:ext>
                </a:extLst>
              </p:cNvPr>
              <p:cNvSpPr/>
              <p:nvPr/>
            </p:nvSpPr>
            <p:spPr>
              <a:xfrm>
                <a:off x="128000" y="2408514"/>
                <a:ext cx="45485" cy="36679"/>
              </a:xfrm>
              <a:custGeom>
                <a:avLst/>
                <a:gdLst>
                  <a:gd name="connsiteX0" fmla="*/ 20177 w 45485"/>
                  <a:gd name="connsiteY0" fmla="*/ 4379 h 36679"/>
                  <a:gd name="connsiteX1" fmla="*/ 45108 w 45485"/>
                  <a:gd name="connsiteY1" fmla="*/ 35913 h 36679"/>
                  <a:gd name="connsiteX2" fmla="*/ 7524 w 45485"/>
                  <a:gd name="connsiteY2" fmla="*/ 20017 h 36679"/>
                  <a:gd name="connsiteX3" fmla="*/ 1551 w 45485"/>
                  <a:gd name="connsiteY3" fmla="*/ 2828 h 36679"/>
                  <a:gd name="connsiteX4" fmla="*/ 20177 w 45485"/>
                  <a:gd name="connsiteY4" fmla="*/ 4379 h 36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485" h="36679">
                    <a:moveTo>
                      <a:pt x="20177" y="4379"/>
                    </a:moveTo>
                    <a:cubicBezTo>
                      <a:pt x="26980" y="9548"/>
                      <a:pt x="48593" y="31605"/>
                      <a:pt x="45108" y="35913"/>
                    </a:cubicBezTo>
                    <a:cubicBezTo>
                      <a:pt x="41624" y="40221"/>
                      <a:pt x="14328" y="25186"/>
                      <a:pt x="7524" y="20017"/>
                    </a:cubicBezTo>
                    <a:cubicBezTo>
                      <a:pt x="721" y="14847"/>
                      <a:pt x="-1976" y="7179"/>
                      <a:pt x="1551" y="2828"/>
                    </a:cubicBezTo>
                    <a:cubicBezTo>
                      <a:pt x="4994" y="-1480"/>
                      <a:pt x="13373" y="-791"/>
                      <a:pt x="20177" y="4379"/>
                    </a:cubicBezTo>
                    <a:close/>
                  </a:path>
                </a:pathLst>
              </a:custGeom>
              <a:solidFill>
                <a:srgbClr val="F5D342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2" name="Freeform: Shape 481">
                <a:extLst>
                  <a:ext uri="{FF2B5EF4-FFF2-40B4-BE49-F238E27FC236}">
                    <a16:creationId xmlns:a16="http://schemas.microsoft.com/office/drawing/2014/main" id="{BA128266-E447-44E2-99DB-953A5D3FB124}"/>
                  </a:ext>
                </a:extLst>
              </p:cNvPr>
              <p:cNvSpPr/>
              <p:nvPr/>
            </p:nvSpPr>
            <p:spPr>
              <a:xfrm>
                <a:off x="68966" y="2515802"/>
                <a:ext cx="54954" cy="20285"/>
              </a:xfrm>
              <a:custGeom>
                <a:avLst/>
                <a:gdLst>
                  <a:gd name="connsiteX0" fmla="*/ 14247 w 54954"/>
                  <a:gd name="connsiteY0" fmla="*/ 19867 h 20285"/>
                  <a:gd name="connsiteX1" fmla="*/ 54942 w 54954"/>
                  <a:gd name="connsiteY1" fmla="*/ 14870 h 20285"/>
                  <a:gd name="connsiteX2" fmla="*/ 16860 w 54954"/>
                  <a:gd name="connsiteY2" fmla="*/ 180 h 20285"/>
                  <a:gd name="connsiteX3" fmla="*/ 59 w 54954"/>
                  <a:gd name="connsiteY3" fmla="*/ 8149 h 20285"/>
                  <a:gd name="connsiteX4" fmla="*/ 14247 w 54954"/>
                  <a:gd name="connsiteY4" fmla="*/ 19867 h 2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954" h="20285">
                    <a:moveTo>
                      <a:pt x="14247" y="19867"/>
                    </a:moveTo>
                    <a:cubicBezTo>
                      <a:pt x="22834" y="20901"/>
                      <a:pt x="54196" y="20298"/>
                      <a:pt x="54942" y="14870"/>
                    </a:cubicBezTo>
                    <a:cubicBezTo>
                      <a:pt x="55648" y="9442"/>
                      <a:pt x="25406" y="1213"/>
                      <a:pt x="16860" y="180"/>
                    </a:cubicBezTo>
                    <a:cubicBezTo>
                      <a:pt x="8273" y="-854"/>
                      <a:pt x="765" y="2678"/>
                      <a:pt x="59" y="8149"/>
                    </a:cubicBezTo>
                    <a:cubicBezTo>
                      <a:pt x="-687" y="13534"/>
                      <a:pt x="5701" y="18833"/>
                      <a:pt x="14247" y="19867"/>
                    </a:cubicBezTo>
                    <a:close/>
                  </a:path>
                </a:pathLst>
              </a:custGeom>
              <a:solidFill>
                <a:srgbClr val="F5D342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483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209570" y="2573198"/>
              <a:ext cx="136872" cy="177673"/>
              <a:chOff x="209570" y="2573198"/>
              <a:chExt cx="136872" cy="177673"/>
            </a:xfrm>
            <a:solidFill>
              <a:srgbClr val="FFFFFF"/>
            </a:solidFill>
          </p:grpSpPr>
          <p:sp>
            <p:nvSpPr>
              <p:cNvPr id="484" name="Freeform: Shape 483">
                <a:extLst>
                  <a:ext uri="{FF2B5EF4-FFF2-40B4-BE49-F238E27FC236}">
                    <a16:creationId xmlns:a16="http://schemas.microsoft.com/office/drawing/2014/main" id="{E1F10210-5C48-4D3B-A636-373E75F5C16F}"/>
                  </a:ext>
                </a:extLst>
              </p:cNvPr>
              <p:cNvSpPr/>
              <p:nvPr/>
            </p:nvSpPr>
            <p:spPr>
              <a:xfrm>
                <a:off x="219644" y="2573198"/>
                <a:ext cx="114234" cy="76030"/>
              </a:xfrm>
              <a:custGeom>
                <a:avLst/>
                <a:gdLst>
                  <a:gd name="connsiteX0" fmla="*/ 112140 w 114234"/>
                  <a:gd name="connsiteY0" fmla="*/ 65603 h 76030"/>
                  <a:gd name="connsiteX1" fmla="*/ 102059 w 114234"/>
                  <a:gd name="connsiteY1" fmla="*/ 54058 h 76030"/>
                  <a:gd name="connsiteX2" fmla="*/ 109941 w 114234"/>
                  <a:gd name="connsiteY2" fmla="*/ 33164 h 76030"/>
                  <a:gd name="connsiteX3" fmla="*/ 110729 w 114234"/>
                  <a:gd name="connsiteY3" fmla="*/ 19810 h 76030"/>
                  <a:gd name="connsiteX4" fmla="*/ 106456 w 114234"/>
                  <a:gd name="connsiteY4" fmla="*/ 9169 h 76030"/>
                  <a:gd name="connsiteX5" fmla="*/ 96044 w 114234"/>
                  <a:gd name="connsiteY5" fmla="*/ 11237 h 76030"/>
                  <a:gd name="connsiteX6" fmla="*/ 90485 w 114234"/>
                  <a:gd name="connsiteY6" fmla="*/ 21964 h 76030"/>
                  <a:gd name="connsiteX7" fmla="*/ 89655 w 114234"/>
                  <a:gd name="connsiteY7" fmla="*/ 44752 h 76030"/>
                  <a:gd name="connsiteX8" fmla="*/ 91896 w 114234"/>
                  <a:gd name="connsiteY8" fmla="*/ 52464 h 76030"/>
                  <a:gd name="connsiteX9" fmla="*/ 85466 w 114234"/>
                  <a:gd name="connsiteY9" fmla="*/ 55781 h 76030"/>
                  <a:gd name="connsiteX10" fmla="*/ 69204 w 114234"/>
                  <a:gd name="connsiteY10" fmla="*/ 47897 h 76030"/>
                  <a:gd name="connsiteX11" fmla="*/ 67628 w 114234"/>
                  <a:gd name="connsiteY11" fmla="*/ 44752 h 76030"/>
                  <a:gd name="connsiteX12" fmla="*/ 69245 w 114234"/>
                  <a:gd name="connsiteY12" fmla="*/ 40272 h 76030"/>
                  <a:gd name="connsiteX13" fmla="*/ 73726 w 114234"/>
                  <a:gd name="connsiteY13" fmla="*/ 18000 h 76030"/>
                  <a:gd name="connsiteX14" fmla="*/ 68208 w 114234"/>
                  <a:gd name="connsiteY14" fmla="*/ 553 h 76030"/>
                  <a:gd name="connsiteX15" fmla="*/ 62691 w 114234"/>
                  <a:gd name="connsiteY15" fmla="*/ 1932 h 76030"/>
                  <a:gd name="connsiteX16" fmla="*/ 59040 w 114234"/>
                  <a:gd name="connsiteY16" fmla="*/ 44149 h 76030"/>
                  <a:gd name="connsiteX17" fmla="*/ 53523 w 114234"/>
                  <a:gd name="connsiteY17" fmla="*/ 54833 h 76030"/>
                  <a:gd name="connsiteX18" fmla="*/ 41617 w 114234"/>
                  <a:gd name="connsiteY18" fmla="*/ 63750 h 76030"/>
                  <a:gd name="connsiteX19" fmla="*/ 30334 w 114234"/>
                  <a:gd name="connsiteY19" fmla="*/ 53411 h 76030"/>
                  <a:gd name="connsiteX20" fmla="*/ 26019 w 114234"/>
                  <a:gd name="connsiteY20" fmla="*/ 44796 h 76030"/>
                  <a:gd name="connsiteX21" fmla="*/ 27762 w 114234"/>
                  <a:gd name="connsiteY21" fmla="*/ 39971 h 76030"/>
                  <a:gd name="connsiteX22" fmla="*/ 31578 w 114234"/>
                  <a:gd name="connsiteY22" fmla="*/ 20240 h 76030"/>
                  <a:gd name="connsiteX23" fmla="*/ 25936 w 114234"/>
                  <a:gd name="connsiteY23" fmla="*/ 4172 h 76030"/>
                  <a:gd name="connsiteX24" fmla="*/ 20419 w 114234"/>
                  <a:gd name="connsiteY24" fmla="*/ 5551 h 76030"/>
                  <a:gd name="connsiteX25" fmla="*/ 17308 w 114234"/>
                  <a:gd name="connsiteY25" fmla="*/ 43159 h 76030"/>
                  <a:gd name="connsiteX26" fmla="*/ 17681 w 114234"/>
                  <a:gd name="connsiteY26" fmla="*/ 44451 h 76030"/>
                  <a:gd name="connsiteX27" fmla="*/ 1005 w 114234"/>
                  <a:gd name="connsiteY27" fmla="*/ 69997 h 76030"/>
                  <a:gd name="connsiteX28" fmla="*/ 6149 w 114234"/>
                  <a:gd name="connsiteY28" fmla="*/ 74951 h 76030"/>
                  <a:gd name="connsiteX29" fmla="*/ 21747 w 114234"/>
                  <a:gd name="connsiteY29" fmla="*/ 54015 h 76030"/>
                  <a:gd name="connsiteX30" fmla="*/ 25812 w 114234"/>
                  <a:gd name="connsiteY30" fmla="*/ 60347 h 76030"/>
                  <a:gd name="connsiteX31" fmla="*/ 42447 w 114234"/>
                  <a:gd name="connsiteY31" fmla="*/ 71419 h 76030"/>
                  <a:gd name="connsiteX32" fmla="*/ 58709 w 114234"/>
                  <a:gd name="connsiteY32" fmla="*/ 61252 h 76030"/>
                  <a:gd name="connsiteX33" fmla="*/ 63479 w 114234"/>
                  <a:gd name="connsiteY33" fmla="*/ 53670 h 76030"/>
                  <a:gd name="connsiteX34" fmla="*/ 78372 w 114234"/>
                  <a:gd name="connsiteY34" fmla="*/ 63923 h 76030"/>
                  <a:gd name="connsiteX35" fmla="*/ 95422 w 114234"/>
                  <a:gd name="connsiteY35" fmla="*/ 59658 h 76030"/>
                  <a:gd name="connsiteX36" fmla="*/ 106581 w 114234"/>
                  <a:gd name="connsiteY36" fmla="*/ 72452 h 76030"/>
                  <a:gd name="connsiteX37" fmla="*/ 112140 w 114234"/>
                  <a:gd name="connsiteY37" fmla="*/ 65603 h 76030"/>
                  <a:gd name="connsiteX38" fmla="*/ 65927 w 114234"/>
                  <a:gd name="connsiteY38" fmla="*/ 11409 h 76030"/>
                  <a:gd name="connsiteX39" fmla="*/ 65305 w 114234"/>
                  <a:gd name="connsiteY39" fmla="*/ 20240 h 76030"/>
                  <a:gd name="connsiteX40" fmla="*/ 63521 w 114234"/>
                  <a:gd name="connsiteY40" fmla="*/ 30493 h 76030"/>
                  <a:gd name="connsiteX41" fmla="*/ 65927 w 114234"/>
                  <a:gd name="connsiteY41" fmla="*/ 11409 h 76030"/>
                  <a:gd name="connsiteX42" fmla="*/ 97247 w 114234"/>
                  <a:gd name="connsiteY42" fmla="*/ 30967 h 76030"/>
                  <a:gd name="connsiteX43" fmla="*/ 99487 w 114234"/>
                  <a:gd name="connsiteY43" fmla="*/ 21490 h 76030"/>
                  <a:gd name="connsiteX44" fmla="*/ 101437 w 114234"/>
                  <a:gd name="connsiteY44" fmla="*/ 17570 h 76030"/>
                  <a:gd name="connsiteX45" fmla="*/ 102059 w 114234"/>
                  <a:gd name="connsiteY45" fmla="*/ 16794 h 76030"/>
                  <a:gd name="connsiteX46" fmla="*/ 102225 w 114234"/>
                  <a:gd name="connsiteY46" fmla="*/ 17742 h 76030"/>
                  <a:gd name="connsiteX47" fmla="*/ 99446 w 114234"/>
                  <a:gd name="connsiteY47" fmla="*/ 41651 h 76030"/>
                  <a:gd name="connsiteX48" fmla="*/ 98326 w 114234"/>
                  <a:gd name="connsiteY48" fmla="*/ 44365 h 76030"/>
                  <a:gd name="connsiteX49" fmla="*/ 97247 w 114234"/>
                  <a:gd name="connsiteY49" fmla="*/ 30967 h 76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14234" h="76030">
                    <a:moveTo>
                      <a:pt x="112140" y="65603"/>
                    </a:moveTo>
                    <a:cubicBezTo>
                      <a:pt x="107825" y="62544"/>
                      <a:pt x="104465" y="58538"/>
                      <a:pt x="102059" y="54058"/>
                    </a:cubicBezTo>
                    <a:cubicBezTo>
                      <a:pt x="106913" y="48242"/>
                      <a:pt x="109070" y="40402"/>
                      <a:pt x="109941" y="33164"/>
                    </a:cubicBezTo>
                    <a:cubicBezTo>
                      <a:pt x="110480" y="28727"/>
                      <a:pt x="110646" y="24247"/>
                      <a:pt x="110729" y="19810"/>
                    </a:cubicBezTo>
                    <a:cubicBezTo>
                      <a:pt x="110812" y="15502"/>
                      <a:pt x="110231" y="11840"/>
                      <a:pt x="106456" y="9169"/>
                    </a:cubicBezTo>
                    <a:cubicBezTo>
                      <a:pt x="103096" y="6757"/>
                      <a:pt x="98616" y="8911"/>
                      <a:pt x="96044" y="11237"/>
                    </a:cubicBezTo>
                    <a:cubicBezTo>
                      <a:pt x="93057" y="13908"/>
                      <a:pt x="91647" y="18302"/>
                      <a:pt x="90485" y="21964"/>
                    </a:cubicBezTo>
                    <a:cubicBezTo>
                      <a:pt x="88162" y="29330"/>
                      <a:pt x="88204" y="37257"/>
                      <a:pt x="89655" y="44752"/>
                    </a:cubicBezTo>
                    <a:cubicBezTo>
                      <a:pt x="90153" y="47380"/>
                      <a:pt x="90941" y="49965"/>
                      <a:pt x="91896" y="52464"/>
                    </a:cubicBezTo>
                    <a:cubicBezTo>
                      <a:pt x="89987" y="53885"/>
                      <a:pt x="87830" y="55048"/>
                      <a:pt x="85466" y="55781"/>
                    </a:cubicBezTo>
                    <a:cubicBezTo>
                      <a:pt x="78123" y="58064"/>
                      <a:pt x="72564" y="53971"/>
                      <a:pt x="69204" y="47897"/>
                    </a:cubicBezTo>
                    <a:cubicBezTo>
                      <a:pt x="68665" y="46906"/>
                      <a:pt x="68125" y="45829"/>
                      <a:pt x="67628" y="44752"/>
                    </a:cubicBezTo>
                    <a:cubicBezTo>
                      <a:pt x="68208" y="43245"/>
                      <a:pt x="68748" y="41780"/>
                      <a:pt x="69245" y="40272"/>
                    </a:cubicBezTo>
                    <a:cubicBezTo>
                      <a:pt x="71735" y="33078"/>
                      <a:pt x="73103" y="25539"/>
                      <a:pt x="73726" y="18000"/>
                    </a:cubicBezTo>
                    <a:cubicBezTo>
                      <a:pt x="74224" y="11754"/>
                      <a:pt x="74431" y="4258"/>
                      <a:pt x="68208" y="553"/>
                    </a:cubicBezTo>
                    <a:cubicBezTo>
                      <a:pt x="66217" y="-653"/>
                      <a:pt x="63977" y="252"/>
                      <a:pt x="62691" y="1932"/>
                    </a:cubicBezTo>
                    <a:cubicBezTo>
                      <a:pt x="53606" y="14123"/>
                      <a:pt x="54104" y="30321"/>
                      <a:pt x="59040" y="44149"/>
                    </a:cubicBezTo>
                    <a:cubicBezTo>
                      <a:pt x="57464" y="47811"/>
                      <a:pt x="55597" y="51387"/>
                      <a:pt x="53523" y="54833"/>
                    </a:cubicBezTo>
                    <a:cubicBezTo>
                      <a:pt x="51242" y="58624"/>
                      <a:pt x="46886" y="64483"/>
                      <a:pt x="41617" y="63750"/>
                    </a:cubicBezTo>
                    <a:cubicBezTo>
                      <a:pt x="36722" y="63061"/>
                      <a:pt x="32781" y="57073"/>
                      <a:pt x="30334" y="53411"/>
                    </a:cubicBezTo>
                    <a:cubicBezTo>
                      <a:pt x="28550" y="50697"/>
                      <a:pt x="27140" y="47811"/>
                      <a:pt x="26019" y="44796"/>
                    </a:cubicBezTo>
                    <a:cubicBezTo>
                      <a:pt x="26642" y="43202"/>
                      <a:pt x="27222" y="41608"/>
                      <a:pt x="27762" y="39971"/>
                    </a:cubicBezTo>
                    <a:cubicBezTo>
                      <a:pt x="29836" y="33595"/>
                      <a:pt x="31039" y="26918"/>
                      <a:pt x="31578" y="20240"/>
                    </a:cubicBezTo>
                    <a:cubicBezTo>
                      <a:pt x="32035" y="14683"/>
                      <a:pt x="32201" y="6843"/>
                      <a:pt x="25936" y="4172"/>
                    </a:cubicBezTo>
                    <a:cubicBezTo>
                      <a:pt x="24111" y="3397"/>
                      <a:pt x="21415" y="3483"/>
                      <a:pt x="20419" y="5551"/>
                    </a:cubicBezTo>
                    <a:cubicBezTo>
                      <a:pt x="14902" y="17440"/>
                      <a:pt x="13823" y="30536"/>
                      <a:pt x="17308" y="43159"/>
                    </a:cubicBezTo>
                    <a:cubicBezTo>
                      <a:pt x="17432" y="43589"/>
                      <a:pt x="17557" y="44020"/>
                      <a:pt x="17681" y="44451"/>
                    </a:cubicBezTo>
                    <a:cubicBezTo>
                      <a:pt x="13865" y="53842"/>
                      <a:pt x="8057" y="62587"/>
                      <a:pt x="1005" y="69997"/>
                    </a:cubicBezTo>
                    <a:cubicBezTo>
                      <a:pt x="-2148" y="73314"/>
                      <a:pt x="2830" y="78225"/>
                      <a:pt x="6149" y="74951"/>
                    </a:cubicBezTo>
                    <a:cubicBezTo>
                      <a:pt x="12413" y="68748"/>
                      <a:pt x="17640" y="61683"/>
                      <a:pt x="21747" y="54015"/>
                    </a:cubicBezTo>
                    <a:cubicBezTo>
                      <a:pt x="22950" y="56212"/>
                      <a:pt x="24319" y="58323"/>
                      <a:pt x="25812" y="60347"/>
                    </a:cubicBezTo>
                    <a:cubicBezTo>
                      <a:pt x="29919" y="65861"/>
                      <a:pt x="35063" y="71031"/>
                      <a:pt x="42447" y="71419"/>
                    </a:cubicBezTo>
                    <a:cubicBezTo>
                      <a:pt x="49333" y="71763"/>
                      <a:pt x="54975" y="66163"/>
                      <a:pt x="58709" y="61252"/>
                    </a:cubicBezTo>
                    <a:cubicBezTo>
                      <a:pt x="60492" y="58882"/>
                      <a:pt x="62069" y="56341"/>
                      <a:pt x="63479" y="53670"/>
                    </a:cubicBezTo>
                    <a:cubicBezTo>
                      <a:pt x="66839" y="58882"/>
                      <a:pt x="71735" y="63018"/>
                      <a:pt x="78372" y="63923"/>
                    </a:cubicBezTo>
                    <a:cubicBezTo>
                      <a:pt x="84470" y="64741"/>
                      <a:pt x="90402" y="62932"/>
                      <a:pt x="95422" y="59658"/>
                    </a:cubicBezTo>
                    <a:cubicBezTo>
                      <a:pt x="98367" y="64483"/>
                      <a:pt x="102142" y="68877"/>
                      <a:pt x="106581" y="72452"/>
                    </a:cubicBezTo>
                    <a:cubicBezTo>
                      <a:pt x="111683" y="76588"/>
                      <a:pt x="117408" y="69351"/>
                      <a:pt x="112140" y="65603"/>
                    </a:cubicBezTo>
                    <a:close/>
                    <a:moveTo>
                      <a:pt x="65927" y="11409"/>
                    </a:moveTo>
                    <a:cubicBezTo>
                      <a:pt x="66217" y="14511"/>
                      <a:pt x="65470" y="18345"/>
                      <a:pt x="65305" y="20240"/>
                    </a:cubicBezTo>
                    <a:cubicBezTo>
                      <a:pt x="64973" y="23687"/>
                      <a:pt x="64350" y="27090"/>
                      <a:pt x="63521" y="30493"/>
                    </a:cubicBezTo>
                    <a:cubicBezTo>
                      <a:pt x="62691" y="23859"/>
                      <a:pt x="63272" y="17053"/>
                      <a:pt x="65927" y="11409"/>
                    </a:cubicBezTo>
                    <a:close/>
                    <a:moveTo>
                      <a:pt x="97247" y="30967"/>
                    </a:moveTo>
                    <a:cubicBezTo>
                      <a:pt x="97496" y="27736"/>
                      <a:pt x="98367" y="24548"/>
                      <a:pt x="99487" y="21490"/>
                    </a:cubicBezTo>
                    <a:cubicBezTo>
                      <a:pt x="99985" y="20111"/>
                      <a:pt x="100649" y="18819"/>
                      <a:pt x="101437" y="17570"/>
                    </a:cubicBezTo>
                    <a:cubicBezTo>
                      <a:pt x="101520" y="17483"/>
                      <a:pt x="101769" y="17139"/>
                      <a:pt x="102059" y="16794"/>
                    </a:cubicBezTo>
                    <a:cubicBezTo>
                      <a:pt x="102101" y="17009"/>
                      <a:pt x="102184" y="17311"/>
                      <a:pt x="102225" y="17742"/>
                    </a:cubicBezTo>
                    <a:cubicBezTo>
                      <a:pt x="102640" y="25625"/>
                      <a:pt x="101976" y="34112"/>
                      <a:pt x="99446" y="41651"/>
                    </a:cubicBezTo>
                    <a:cubicBezTo>
                      <a:pt x="99114" y="42599"/>
                      <a:pt x="98740" y="43503"/>
                      <a:pt x="98326" y="44365"/>
                    </a:cubicBezTo>
                    <a:cubicBezTo>
                      <a:pt x="97288" y="39971"/>
                      <a:pt x="96915" y="35404"/>
                      <a:pt x="97247" y="30967"/>
                    </a:cubicBez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5" name="Freeform: Shape 484">
                <a:extLst>
                  <a:ext uri="{FF2B5EF4-FFF2-40B4-BE49-F238E27FC236}">
                    <a16:creationId xmlns:a16="http://schemas.microsoft.com/office/drawing/2014/main" id="{D02DD8A4-922B-4504-B3E5-14D0EBB10A0D}"/>
                  </a:ext>
                </a:extLst>
              </p:cNvPr>
              <p:cNvSpPr/>
              <p:nvPr/>
            </p:nvSpPr>
            <p:spPr>
              <a:xfrm>
                <a:off x="293685" y="2617404"/>
                <a:ext cx="52757" cy="133467"/>
              </a:xfrm>
              <a:custGeom>
                <a:avLst/>
                <a:gdLst>
                  <a:gd name="connsiteX0" fmla="*/ 45689 w 52757"/>
                  <a:gd name="connsiteY0" fmla="*/ 2269 h 133467"/>
                  <a:gd name="connsiteX1" fmla="*/ 306 w 52757"/>
                  <a:gd name="connsiteY1" fmla="*/ 127888 h 133467"/>
                  <a:gd name="connsiteX2" fmla="*/ 8188 w 52757"/>
                  <a:gd name="connsiteY2" fmla="*/ 130947 h 133467"/>
                  <a:gd name="connsiteX3" fmla="*/ 52576 w 52757"/>
                  <a:gd name="connsiteY3" fmla="*/ 4897 h 133467"/>
                  <a:gd name="connsiteX4" fmla="*/ 45689 w 52757"/>
                  <a:gd name="connsiteY4" fmla="*/ 2269 h 133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757" h="133467">
                    <a:moveTo>
                      <a:pt x="45689" y="2269"/>
                    </a:moveTo>
                    <a:cubicBezTo>
                      <a:pt x="31419" y="44444"/>
                      <a:pt x="16402" y="86403"/>
                      <a:pt x="306" y="127888"/>
                    </a:cubicBezTo>
                    <a:cubicBezTo>
                      <a:pt x="-1643" y="132842"/>
                      <a:pt x="6280" y="135901"/>
                      <a:pt x="8188" y="130947"/>
                    </a:cubicBezTo>
                    <a:cubicBezTo>
                      <a:pt x="24242" y="89375"/>
                      <a:pt x="39176" y="47373"/>
                      <a:pt x="52576" y="4897"/>
                    </a:cubicBezTo>
                    <a:cubicBezTo>
                      <a:pt x="53945" y="546"/>
                      <a:pt x="47183" y="-2168"/>
                      <a:pt x="45689" y="2269"/>
                    </a:cubicBez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6" name="Freeform: Shape 485">
                <a:extLst>
                  <a:ext uri="{FF2B5EF4-FFF2-40B4-BE49-F238E27FC236}">
                    <a16:creationId xmlns:a16="http://schemas.microsoft.com/office/drawing/2014/main" id="{B7F26499-07C4-4C40-8EC0-D9A4DB9549E7}"/>
                  </a:ext>
                </a:extLst>
              </p:cNvPr>
              <p:cNvSpPr/>
              <p:nvPr/>
            </p:nvSpPr>
            <p:spPr>
              <a:xfrm>
                <a:off x="209570" y="2612919"/>
                <a:ext cx="40019" cy="136884"/>
              </a:xfrm>
              <a:custGeom>
                <a:avLst/>
                <a:gdLst>
                  <a:gd name="connsiteX0" fmla="*/ 127 w 40019"/>
                  <a:gd name="connsiteY0" fmla="*/ 4083 h 136884"/>
                  <a:gd name="connsiteX1" fmla="*/ 31571 w 40019"/>
                  <a:gd name="connsiteY1" fmla="*/ 133666 h 136884"/>
                  <a:gd name="connsiteX2" fmla="*/ 39910 w 40019"/>
                  <a:gd name="connsiteY2" fmla="*/ 132115 h 136884"/>
                  <a:gd name="connsiteX3" fmla="*/ 7386 w 40019"/>
                  <a:gd name="connsiteY3" fmla="*/ 2748 h 136884"/>
                  <a:gd name="connsiteX4" fmla="*/ 127 w 40019"/>
                  <a:gd name="connsiteY4" fmla="*/ 4083 h 13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019" h="136884">
                    <a:moveTo>
                      <a:pt x="127" y="4083"/>
                    </a:moveTo>
                    <a:cubicBezTo>
                      <a:pt x="11493" y="47076"/>
                      <a:pt x="22155" y="90242"/>
                      <a:pt x="31571" y="133666"/>
                    </a:cubicBezTo>
                    <a:cubicBezTo>
                      <a:pt x="32691" y="138878"/>
                      <a:pt x="41071" y="137327"/>
                      <a:pt x="39910" y="132115"/>
                    </a:cubicBezTo>
                    <a:cubicBezTo>
                      <a:pt x="30368" y="88691"/>
                      <a:pt x="19665" y="45526"/>
                      <a:pt x="7386" y="2748"/>
                    </a:cubicBezTo>
                    <a:cubicBezTo>
                      <a:pt x="6142" y="-1689"/>
                      <a:pt x="-1035" y="-397"/>
                      <a:pt x="127" y="40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487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8777786" y="2383427"/>
            <a:ext cx="297793" cy="494166"/>
            <a:chOff x="8777786" y="2383427"/>
            <a:chExt cx="297793" cy="494166"/>
          </a:xfrm>
          <a:solidFill>
            <a:schemeClr val="accent1"/>
          </a:solidFill>
        </p:grpSpPr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D1113BF8-566D-4624-A91F-31040E2E1761}"/>
                </a:ext>
              </a:extLst>
            </p:cNvPr>
            <p:cNvSpPr/>
            <p:nvPr/>
          </p:nvSpPr>
          <p:spPr>
            <a:xfrm>
              <a:off x="8791598" y="2519600"/>
              <a:ext cx="270681" cy="357992"/>
            </a:xfrm>
            <a:custGeom>
              <a:avLst/>
              <a:gdLst>
                <a:gd name="connsiteX0" fmla="*/ 0 w 270681"/>
                <a:gd name="connsiteY0" fmla="*/ 5859 h 357992"/>
                <a:gd name="connsiteX1" fmla="*/ 23978 w 270681"/>
                <a:gd name="connsiteY1" fmla="*/ 342006 h 357992"/>
                <a:gd name="connsiteX2" fmla="*/ 40862 w 270681"/>
                <a:gd name="connsiteY2" fmla="*/ 357988 h 357992"/>
                <a:gd name="connsiteX3" fmla="*/ 244007 w 270681"/>
                <a:gd name="connsiteY3" fmla="*/ 353594 h 357992"/>
                <a:gd name="connsiteX4" fmla="*/ 260227 w 270681"/>
                <a:gd name="connsiteY4" fmla="*/ 336879 h 357992"/>
                <a:gd name="connsiteX5" fmla="*/ 270681 w 270681"/>
                <a:gd name="connsiteY5" fmla="*/ 0 h 357992"/>
                <a:gd name="connsiteX6" fmla="*/ 0 w 270681"/>
                <a:gd name="connsiteY6" fmla="*/ 5859 h 357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681" h="357992">
                  <a:moveTo>
                    <a:pt x="0" y="5859"/>
                  </a:moveTo>
                  <a:lnTo>
                    <a:pt x="23978" y="342006"/>
                  </a:lnTo>
                  <a:cubicBezTo>
                    <a:pt x="24476" y="351139"/>
                    <a:pt x="31943" y="358204"/>
                    <a:pt x="40862" y="357988"/>
                  </a:cubicBezTo>
                  <a:lnTo>
                    <a:pt x="244007" y="353594"/>
                  </a:lnTo>
                  <a:cubicBezTo>
                    <a:pt x="252926" y="353422"/>
                    <a:pt x="260104" y="346012"/>
                    <a:pt x="260227" y="336879"/>
                  </a:cubicBezTo>
                  <a:lnTo>
                    <a:pt x="270681" y="0"/>
                  </a:lnTo>
                  <a:lnTo>
                    <a:pt x="0" y="5859"/>
                  </a:lnTo>
                  <a:close/>
                </a:path>
              </a:pathLst>
            </a:custGeom>
            <a:solidFill>
              <a:srgbClr val="00A661"/>
            </a:solidFill>
            <a:ln w="41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0C2ED1E8-0938-42A7-8521-42319B93D1CE}"/>
                </a:ext>
              </a:extLst>
            </p:cNvPr>
            <p:cNvSpPr/>
            <p:nvPr/>
          </p:nvSpPr>
          <p:spPr>
            <a:xfrm rot="-71509">
              <a:off x="8778127" y="2485351"/>
              <a:ext cx="297111" cy="37264"/>
            </a:xfrm>
            <a:custGeom>
              <a:avLst/>
              <a:gdLst>
                <a:gd name="connsiteX0" fmla="*/ 0 w 297111"/>
                <a:gd name="connsiteY0" fmla="*/ 0 h 37264"/>
                <a:gd name="connsiteX1" fmla="*/ 297111 w 297111"/>
                <a:gd name="connsiteY1" fmla="*/ 0 h 37264"/>
                <a:gd name="connsiteX2" fmla="*/ 297111 w 297111"/>
                <a:gd name="connsiteY2" fmla="*/ 37264 h 37264"/>
                <a:gd name="connsiteX3" fmla="*/ 0 w 297111"/>
                <a:gd name="connsiteY3" fmla="*/ 37264 h 37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7111" h="37264">
                  <a:moveTo>
                    <a:pt x="0" y="0"/>
                  </a:moveTo>
                  <a:lnTo>
                    <a:pt x="297111" y="0"/>
                  </a:lnTo>
                  <a:lnTo>
                    <a:pt x="297111" y="37264"/>
                  </a:lnTo>
                  <a:lnTo>
                    <a:pt x="0" y="37264"/>
                  </a:lnTo>
                  <a:close/>
                </a:path>
              </a:pathLst>
            </a:custGeom>
            <a:solidFill>
              <a:srgbClr val="004737"/>
            </a:solidFill>
            <a:ln w="41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8EBDA5AE-B04B-44E8-A67C-DD4E7CA58CBB}"/>
                </a:ext>
              </a:extLst>
            </p:cNvPr>
            <p:cNvSpPr/>
            <p:nvPr/>
          </p:nvSpPr>
          <p:spPr>
            <a:xfrm>
              <a:off x="8790852" y="2383427"/>
              <a:ext cx="270639" cy="104768"/>
            </a:xfrm>
            <a:custGeom>
              <a:avLst/>
              <a:gdLst>
                <a:gd name="connsiteX0" fmla="*/ 270640 w 270639"/>
                <a:gd name="connsiteY0" fmla="*/ 98910 h 104768"/>
                <a:gd name="connsiteX1" fmla="*/ 0 w 270639"/>
                <a:gd name="connsiteY1" fmla="*/ 104769 h 104768"/>
                <a:gd name="connsiteX2" fmla="*/ 18958 w 270639"/>
                <a:gd name="connsiteY2" fmla="*/ 4954 h 104768"/>
                <a:gd name="connsiteX3" fmla="*/ 247658 w 270639"/>
                <a:gd name="connsiteY3" fmla="*/ 0 h 104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0639" h="104768">
                  <a:moveTo>
                    <a:pt x="270640" y="98910"/>
                  </a:moveTo>
                  <a:lnTo>
                    <a:pt x="0" y="104769"/>
                  </a:lnTo>
                  <a:lnTo>
                    <a:pt x="18958" y="4954"/>
                  </a:lnTo>
                  <a:lnTo>
                    <a:pt x="247658" y="0"/>
                  </a:lnTo>
                  <a:close/>
                </a:path>
              </a:pathLst>
            </a:custGeom>
            <a:solidFill>
              <a:srgbClr val="00A661"/>
            </a:solidFill>
            <a:ln w="41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785B617F-F0BE-4C41-8914-474BB2B67C2B}"/>
                </a:ext>
              </a:extLst>
            </p:cNvPr>
            <p:cNvSpPr/>
            <p:nvPr/>
          </p:nvSpPr>
          <p:spPr>
            <a:xfrm>
              <a:off x="8837725" y="2416250"/>
              <a:ext cx="175190" cy="52089"/>
            </a:xfrm>
            <a:custGeom>
              <a:avLst/>
              <a:gdLst>
                <a:gd name="connsiteX0" fmla="*/ 161873 w 175190"/>
                <a:gd name="connsiteY0" fmla="*/ 48898 h 52089"/>
                <a:gd name="connsiteX1" fmla="*/ 14274 w 175190"/>
                <a:gd name="connsiteY1" fmla="*/ 52086 h 52089"/>
                <a:gd name="connsiteX2" fmla="*/ 418 w 175190"/>
                <a:gd name="connsiteY2" fmla="*/ 38473 h 52089"/>
                <a:gd name="connsiteX3" fmla="*/ 3 w 175190"/>
                <a:gd name="connsiteY3" fmla="*/ 17408 h 52089"/>
                <a:gd name="connsiteX4" fmla="*/ 13319 w 175190"/>
                <a:gd name="connsiteY4" fmla="*/ 3191 h 52089"/>
                <a:gd name="connsiteX5" fmla="*/ 160919 w 175190"/>
                <a:gd name="connsiteY5" fmla="*/ 4 h 52089"/>
                <a:gd name="connsiteX6" fmla="*/ 174774 w 175190"/>
                <a:gd name="connsiteY6" fmla="*/ 13617 h 52089"/>
                <a:gd name="connsiteX7" fmla="*/ 175189 w 175190"/>
                <a:gd name="connsiteY7" fmla="*/ 34682 h 52089"/>
                <a:gd name="connsiteX8" fmla="*/ 161873 w 175190"/>
                <a:gd name="connsiteY8" fmla="*/ 48898 h 52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5190" h="52089">
                  <a:moveTo>
                    <a:pt x="161873" y="48898"/>
                  </a:moveTo>
                  <a:lnTo>
                    <a:pt x="14274" y="52086"/>
                  </a:lnTo>
                  <a:cubicBezTo>
                    <a:pt x="6765" y="52259"/>
                    <a:pt x="584" y="46141"/>
                    <a:pt x="418" y="38473"/>
                  </a:cubicBezTo>
                  <a:lnTo>
                    <a:pt x="3" y="17408"/>
                  </a:lnTo>
                  <a:cubicBezTo>
                    <a:pt x="-163" y="9739"/>
                    <a:pt x="5811" y="3364"/>
                    <a:pt x="13319" y="3191"/>
                  </a:cubicBezTo>
                  <a:lnTo>
                    <a:pt x="160919" y="4"/>
                  </a:lnTo>
                  <a:cubicBezTo>
                    <a:pt x="168427" y="-169"/>
                    <a:pt x="174649" y="5949"/>
                    <a:pt x="174774" y="13617"/>
                  </a:cubicBezTo>
                  <a:lnTo>
                    <a:pt x="175189" y="34682"/>
                  </a:lnTo>
                  <a:cubicBezTo>
                    <a:pt x="175314" y="42350"/>
                    <a:pt x="169382" y="48726"/>
                    <a:pt x="161873" y="48898"/>
                  </a:cubicBezTo>
                </a:path>
              </a:pathLst>
            </a:custGeom>
            <a:solidFill>
              <a:srgbClr val="3C465B"/>
            </a:solidFill>
            <a:ln w="41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92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8830440" y="2581185"/>
              <a:ext cx="199207" cy="205109"/>
              <a:chOff x="8830440" y="2581185"/>
              <a:chExt cx="199207" cy="205109"/>
            </a:xfrm>
            <a:solidFill>
              <a:srgbClr val="FFFFFF"/>
            </a:solidFill>
          </p:grpSpPr>
          <p:sp>
            <p:nvSpPr>
              <p:cNvPr id="493" name="Freeform: Shape 492">
                <a:extLst>
                  <a:ext uri="{FF2B5EF4-FFF2-40B4-BE49-F238E27FC236}">
                    <a16:creationId xmlns:a16="http://schemas.microsoft.com/office/drawing/2014/main" id="{24A30063-DBFF-48AD-AB27-A775AD77273F}"/>
                  </a:ext>
                </a:extLst>
              </p:cNvPr>
              <p:cNvSpPr/>
              <p:nvPr/>
            </p:nvSpPr>
            <p:spPr>
              <a:xfrm>
                <a:off x="8985410" y="2707426"/>
                <a:ext cx="3817" cy="7495"/>
              </a:xfrm>
              <a:custGeom>
                <a:avLst/>
                <a:gdLst>
                  <a:gd name="connsiteX0" fmla="*/ 3817 w 3817"/>
                  <a:gd name="connsiteY0" fmla="*/ 7496 h 7495"/>
                  <a:gd name="connsiteX1" fmla="*/ 3029 w 3817"/>
                  <a:gd name="connsiteY1" fmla="*/ 5428 h 7495"/>
                  <a:gd name="connsiteX2" fmla="*/ 0 w 3817"/>
                  <a:gd name="connsiteY2" fmla="*/ 0 h 7495"/>
                  <a:gd name="connsiteX3" fmla="*/ 3817 w 3817"/>
                  <a:gd name="connsiteY3" fmla="*/ 7496 h 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7" h="7495">
                    <a:moveTo>
                      <a:pt x="3817" y="7496"/>
                    </a:moveTo>
                    <a:cubicBezTo>
                      <a:pt x="3693" y="6850"/>
                      <a:pt x="3443" y="6160"/>
                      <a:pt x="3029" y="5428"/>
                    </a:cubicBezTo>
                    <a:cubicBezTo>
                      <a:pt x="2656" y="4739"/>
                      <a:pt x="1535" y="2671"/>
                      <a:pt x="0" y="0"/>
                    </a:cubicBezTo>
                    <a:lnTo>
                      <a:pt x="3817" y="7496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4" name="Freeform: Shape 493">
                <a:extLst>
                  <a:ext uri="{FF2B5EF4-FFF2-40B4-BE49-F238E27FC236}">
                    <a16:creationId xmlns:a16="http://schemas.microsoft.com/office/drawing/2014/main" id="{C222AB71-E682-43C1-A947-7DD4AD6EFD76}"/>
                  </a:ext>
                </a:extLst>
              </p:cNvPr>
              <p:cNvSpPr/>
              <p:nvPr/>
            </p:nvSpPr>
            <p:spPr>
              <a:xfrm>
                <a:off x="8914929" y="2581185"/>
                <a:ext cx="83813" cy="74525"/>
              </a:xfrm>
              <a:custGeom>
                <a:avLst/>
                <a:gdLst>
                  <a:gd name="connsiteX0" fmla="*/ 18046 w 83813"/>
                  <a:gd name="connsiteY0" fmla="*/ 61449 h 74525"/>
                  <a:gd name="connsiteX1" fmla="*/ 31819 w 83813"/>
                  <a:gd name="connsiteY1" fmla="*/ 65326 h 74525"/>
                  <a:gd name="connsiteX2" fmla="*/ 49657 w 83813"/>
                  <a:gd name="connsiteY2" fmla="*/ 70324 h 74525"/>
                  <a:gd name="connsiteX3" fmla="*/ 63429 w 83813"/>
                  <a:gd name="connsiteY3" fmla="*/ 74201 h 74525"/>
                  <a:gd name="connsiteX4" fmla="*/ 74215 w 83813"/>
                  <a:gd name="connsiteY4" fmla="*/ 67265 h 74525"/>
                  <a:gd name="connsiteX5" fmla="*/ 77077 w 83813"/>
                  <a:gd name="connsiteY5" fmla="*/ 52618 h 74525"/>
                  <a:gd name="connsiteX6" fmla="*/ 80770 w 83813"/>
                  <a:gd name="connsiteY6" fmla="*/ 33663 h 74525"/>
                  <a:gd name="connsiteX7" fmla="*/ 83632 w 83813"/>
                  <a:gd name="connsiteY7" fmla="*/ 19016 h 74525"/>
                  <a:gd name="connsiteX8" fmla="*/ 76455 w 83813"/>
                  <a:gd name="connsiteY8" fmla="*/ 15398 h 74525"/>
                  <a:gd name="connsiteX9" fmla="*/ 67951 w 83813"/>
                  <a:gd name="connsiteY9" fmla="*/ 20869 h 74525"/>
                  <a:gd name="connsiteX10" fmla="*/ 60151 w 83813"/>
                  <a:gd name="connsiteY10" fmla="*/ 7773 h 74525"/>
                  <a:gd name="connsiteX11" fmla="*/ 41442 w 83813"/>
                  <a:gd name="connsiteY11" fmla="*/ 18 h 74525"/>
                  <a:gd name="connsiteX12" fmla="*/ 0 w 83813"/>
                  <a:gd name="connsiteY12" fmla="*/ 1138 h 74525"/>
                  <a:gd name="connsiteX13" fmla="*/ 17963 w 83813"/>
                  <a:gd name="connsiteY13" fmla="*/ 32586 h 74525"/>
                  <a:gd name="connsiteX14" fmla="*/ 19041 w 83813"/>
                  <a:gd name="connsiteY14" fmla="*/ 34180 h 74525"/>
                  <a:gd name="connsiteX15" fmla="*/ 26384 w 83813"/>
                  <a:gd name="connsiteY15" fmla="*/ 47750 h 74525"/>
                  <a:gd name="connsiteX16" fmla="*/ 18087 w 83813"/>
                  <a:gd name="connsiteY16" fmla="*/ 53135 h 74525"/>
                  <a:gd name="connsiteX17" fmla="*/ 18046 w 83813"/>
                  <a:gd name="connsiteY17" fmla="*/ 61449 h 74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83813" h="74525">
                    <a:moveTo>
                      <a:pt x="18046" y="61449"/>
                    </a:moveTo>
                    <a:lnTo>
                      <a:pt x="31819" y="65326"/>
                    </a:lnTo>
                    <a:cubicBezTo>
                      <a:pt x="36713" y="66705"/>
                      <a:pt x="44761" y="68945"/>
                      <a:pt x="49657" y="70324"/>
                    </a:cubicBezTo>
                    <a:lnTo>
                      <a:pt x="63429" y="74201"/>
                    </a:lnTo>
                    <a:cubicBezTo>
                      <a:pt x="68325" y="75579"/>
                      <a:pt x="73178" y="72434"/>
                      <a:pt x="74215" y="67265"/>
                    </a:cubicBezTo>
                    <a:lnTo>
                      <a:pt x="77077" y="52618"/>
                    </a:lnTo>
                    <a:cubicBezTo>
                      <a:pt x="78073" y="47405"/>
                      <a:pt x="79733" y="38876"/>
                      <a:pt x="80770" y="33663"/>
                    </a:cubicBezTo>
                    <a:lnTo>
                      <a:pt x="83632" y="19016"/>
                    </a:lnTo>
                    <a:cubicBezTo>
                      <a:pt x="84627" y="13804"/>
                      <a:pt x="81433" y="12167"/>
                      <a:pt x="76455" y="15398"/>
                    </a:cubicBezTo>
                    <a:lnTo>
                      <a:pt x="67951" y="20869"/>
                    </a:lnTo>
                    <a:cubicBezTo>
                      <a:pt x="64715" y="15312"/>
                      <a:pt x="61438" y="9797"/>
                      <a:pt x="60151" y="7773"/>
                    </a:cubicBezTo>
                    <a:cubicBezTo>
                      <a:pt x="57289" y="3163"/>
                      <a:pt x="51896" y="-283"/>
                      <a:pt x="41442" y="18"/>
                    </a:cubicBezTo>
                    <a:cubicBezTo>
                      <a:pt x="33685" y="234"/>
                      <a:pt x="13068" y="794"/>
                      <a:pt x="0" y="1138"/>
                    </a:cubicBezTo>
                    <a:lnTo>
                      <a:pt x="17963" y="32586"/>
                    </a:lnTo>
                    <a:cubicBezTo>
                      <a:pt x="18336" y="32974"/>
                      <a:pt x="18709" y="33491"/>
                      <a:pt x="19041" y="34180"/>
                    </a:cubicBezTo>
                    <a:cubicBezTo>
                      <a:pt x="19912" y="35903"/>
                      <a:pt x="23148" y="41848"/>
                      <a:pt x="26384" y="47750"/>
                    </a:cubicBezTo>
                    <a:lnTo>
                      <a:pt x="18087" y="53135"/>
                    </a:lnTo>
                    <a:cubicBezTo>
                      <a:pt x="13193" y="56323"/>
                      <a:pt x="13151" y="60071"/>
                      <a:pt x="18046" y="61449"/>
                    </a:cubicBezTo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5" name="Freeform: Shape 494">
                <a:extLst>
                  <a:ext uri="{FF2B5EF4-FFF2-40B4-BE49-F238E27FC236}">
                    <a16:creationId xmlns:a16="http://schemas.microsoft.com/office/drawing/2014/main" id="{1F37CA53-96B8-41CB-B638-2A1DE846D73F}"/>
                  </a:ext>
                </a:extLst>
              </p:cNvPr>
              <p:cNvSpPr/>
              <p:nvPr/>
            </p:nvSpPr>
            <p:spPr>
              <a:xfrm>
                <a:off x="8867638" y="2582324"/>
                <a:ext cx="65295" cy="67251"/>
              </a:xfrm>
              <a:custGeom>
                <a:avLst/>
                <a:gdLst>
                  <a:gd name="connsiteX0" fmla="*/ 16386 w 65295"/>
                  <a:gd name="connsiteY0" fmla="*/ 11330 h 67251"/>
                  <a:gd name="connsiteX1" fmla="*/ 1203 w 65295"/>
                  <a:gd name="connsiteY1" fmla="*/ 37522 h 67251"/>
                  <a:gd name="connsiteX2" fmla="*/ 4314 w 65295"/>
                  <a:gd name="connsiteY2" fmla="*/ 49713 h 67251"/>
                  <a:gd name="connsiteX3" fmla="*/ 32274 w 65295"/>
                  <a:gd name="connsiteY3" fmla="*/ 66083 h 67251"/>
                  <a:gd name="connsiteX4" fmla="*/ 44180 w 65295"/>
                  <a:gd name="connsiteY4" fmla="*/ 62680 h 67251"/>
                  <a:gd name="connsiteX5" fmla="*/ 60608 w 65295"/>
                  <a:gd name="connsiteY5" fmla="*/ 32999 h 67251"/>
                  <a:gd name="connsiteX6" fmla="*/ 65295 w 65295"/>
                  <a:gd name="connsiteY6" fmla="*/ 31448 h 67251"/>
                  <a:gd name="connsiteX7" fmla="*/ 47333 w 65295"/>
                  <a:gd name="connsiteY7" fmla="*/ 0 h 67251"/>
                  <a:gd name="connsiteX8" fmla="*/ 37377 w 65295"/>
                  <a:gd name="connsiteY8" fmla="*/ 302 h 67251"/>
                  <a:gd name="connsiteX9" fmla="*/ 16386 w 65295"/>
                  <a:gd name="connsiteY9" fmla="*/ 11330 h 67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5295" h="67251">
                    <a:moveTo>
                      <a:pt x="16386" y="11330"/>
                    </a:moveTo>
                    <a:cubicBezTo>
                      <a:pt x="12113" y="18481"/>
                      <a:pt x="1203" y="37522"/>
                      <a:pt x="1203" y="37522"/>
                    </a:cubicBezTo>
                    <a:cubicBezTo>
                      <a:pt x="-1245" y="41787"/>
                      <a:pt x="166" y="47301"/>
                      <a:pt x="4314" y="49713"/>
                    </a:cubicBezTo>
                    <a:lnTo>
                      <a:pt x="32274" y="66083"/>
                    </a:lnTo>
                    <a:cubicBezTo>
                      <a:pt x="36423" y="68539"/>
                      <a:pt x="41774" y="66988"/>
                      <a:pt x="44180" y="62680"/>
                    </a:cubicBezTo>
                    <a:cubicBezTo>
                      <a:pt x="44180" y="62680"/>
                      <a:pt x="59197" y="35540"/>
                      <a:pt x="60608" y="32999"/>
                    </a:cubicBezTo>
                    <a:cubicBezTo>
                      <a:pt x="62018" y="30371"/>
                      <a:pt x="63801" y="29940"/>
                      <a:pt x="65295" y="31448"/>
                    </a:cubicBezTo>
                    <a:lnTo>
                      <a:pt x="47333" y="0"/>
                    </a:lnTo>
                    <a:cubicBezTo>
                      <a:pt x="42811" y="129"/>
                      <a:pt x="39202" y="215"/>
                      <a:pt x="37377" y="302"/>
                    </a:cubicBezTo>
                    <a:cubicBezTo>
                      <a:pt x="30159" y="517"/>
                      <a:pt x="21987" y="2025"/>
                      <a:pt x="16386" y="11330"/>
                    </a:cubicBezTo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6" name="Freeform: Shape 495">
                <a:extLst>
                  <a:ext uri="{FF2B5EF4-FFF2-40B4-BE49-F238E27FC236}">
                    <a16:creationId xmlns:a16="http://schemas.microsoft.com/office/drawing/2014/main" id="{21C20400-7E8D-47D9-B2EA-DA0BF466BADC}"/>
                  </a:ext>
                </a:extLst>
              </p:cNvPr>
              <p:cNvSpPr/>
              <p:nvPr/>
            </p:nvSpPr>
            <p:spPr>
              <a:xfrm>
                <a:off x="8830440" y="2642686"/>
                <a:ext cx="71894" cy="105018"/>
              </a:xfrm>
              <a:custGeom>
                <a:avLst/>
                <a:gdLst>
                  <a:gd name="connsiteX0" fmla="*/ 7081 w 71894"/>
                  <a:gd name="connsiteY0" fmla="*/ 70900 h 105018"/>
                  <a:gd name="connsiteX1" fmla="*/ 25831 w 71894"/>
                  <a:gd name="connsiteY1" fmla="*/ 105019 h 105018"/>
                  <a:gd name="connsiteX2" fmla="*/ 44748 w 71894"/>
                  <a:gd name="connsiteY2" fmla="*/ 71072 h 105018"/>
                  <a:gd name="connsiteX3" fmla="*/ 54538 w 71894"/>
                  <a:gd name="connsiteY3" fmla="*/ 52721 h 105018"/>
                  <a:gd name="connsiteX4" fmla="*/ 64661 w 71894"/>
                  <a:gd name="connsiteY4" fmla="*/ 58321 h 105018"/>
                  <a:gd name="connsiteX5" fmla="*/ 71588 w 71894"/>
                  <a:gd name="connsiteY5" fmla="*/ 54185 h 105018"/>
                  <a:gd name="connsiteX6" fmla="*/ 67772 w 71894"/>
                  <a:gd name="connsiteY6" fmla="*/ 39754 h 105018"/>
                  <a:gd name="connsiteX7" fmla="*/ 62876 w 71894"/>
                  <a:gd name="connsiteY7" fmla="*/ 21144 h 105018"/>
                  <a:gd name="connsiteX8" fmla="*/ 59101 w 71894"/>
                  <a:gd name="connsiteY8" fmla="*/ 6712 h 105018"/>
                  <a:gd name="connsiteX9" fmla="*/ 47901 w 71894"/>
                  <a:gd name="connsiteY9" fmla="*/ 509 h 105018"/>
                  <a:gd name="connsiteX10" fmla="*/ 34419 w 71894"/>
                  <a:gd name="connsiteY10" fmla="*/ 5334 h 105018"/>
                  <a:gd name="connsiteX11" fmla="*/ 16954 w 71894"/>
                  <a:gd name="connsiteY11" fmla="*/ 11580 h 105018"/>
                  <a:gd name="connsiteX12" fmla="*/ 3431 w 71894"/>
                  <a:gd name="connsiteY12" fmla="*/ 16405 h 105018"/>
                  <a:gd name="connsiteX13" fmla="*/ 4053 w 71894"/>
                  <a:gd name="connsiteY13" fmla="*/ 24719 h 105018"/>
                  <a:gd name="connsiteX14" fmla="*/ 11520 w 71894"/>
                  <a:gd name="connsiteY14" fmla="*/ 28855 h 105018"/>
                  <a:gd name="connsiteX15" fmla="*/ 2559 w 71894"/>
                  <a:gd name="connsiteY15" fmla="*/ 48327 h 105018"/>
                  <a:gd name="connsiteX16" fmla="*/ 7081 w 71894"/>
                  <a:gd name="connsiteY16" fmla="*/ 70900 h 105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1894" h="105018">
                    <a:moveTo>
                      <a:pt x="7081" y="70900"/>
                    </a:moveTo>
                    <a:cubicBezTo>
                      <a:pt x="10317" y="77147"/>
                      <a:pt x="19277" y="93258"/>
                      <a:pt x="25831" y="105019"/>
                    </a:cubicBezTo>
                    <a:lnTo>
                      <a:pt x="44748" y="71072"/>
                    </a:lnTo>
                    <a:cubicBezTo>
                      <a:pt x="46947" y="66894"/>
                      <a:pt x="51095" y="59139"/>
                      <a:pt x="54538" y="52721"/>
                    </a:cubicBezTo>
                    <a:lnTo>
                      <a:pt x="64661" y="58321"/>
                    </a:lnTo>
                    <a:cubicBezTo>
                      <a:pt x="69805" y="61207"/>
                      <a:pt x="72916" y="59312"/>
                      <a:pt x="71588" y="54185"/>
                    </a:cubicBezTo>
                    <a:lnTo>
                      <a:pt x="67772" y="39754"/>
                    </a:lnTo>
                    <a:cubicBezTo>
                      <a:pt x="66403" y="34627"/>
                      <a:pt x="64204" y="26270"/>
                      <a:pt x="62876" y="21144"/>
                    </a:cubicBezTo>
                    <a:lnTo>
                      <a:pt x="59101" y="6712"/>
                    </a:lnTo>
                    <a:cubicBezTo>
                      <a:pt x="57732" y="1586"/>
                      <a:pt x="52713" y="-1214"/>
                      <a:pt x="47901" y="509"/>
                    </a:cubicBezTo>
                    <a:lnTo>
                      <a:pt x="34419" y="5334"/>
                    </a:lnTo>
                    <a:cubicBezTo>
                      <a:pt x="29606" y="7057"/>
                      <a:pt x="21766" y="9857"/>
                      <a:pt x="16954" y="11580"/>
                    </a:cubicBezTo>
                    <a:lnTo>
                      <a:pt x="3431" y="16405"/>
                    </a:lnTo>
                    <a:cubicBezTo>
                      <a:pt x="-1382" y="18128"/>
                      <a:pt x="-1091" y="21876"/>
                      <a:pt x="4053" y="24719"/>
                    </a:cubicBezTo>
                    <a:lnTo>
                      <a:pt x="11520" y="28855"/>
                    </a:lnTo>
                    <a:cubicBezTo>
                      <a:pt x="7910" y="36566"/>
                      <a:pt x="3637" y="45699"/>
                      <a:pt x="2559" y="48327"/>
                    </a:cubicBezTo>
                    <a:cubicBezTo>
                      <a:pt x="651" y="53151"/>
                      <a:pt x="2061" y="61207"/>
                      <a:pt x="7081" y="70900"/>
                    </a:cubicBezTo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7" name="Freeform: Shape 496">
                <a:extLst>
                  <a:ext uri="{FF2B5EF4-FFF2-40B4-BE49-F238E27FC236}">
                    <a16:creationId xmlns:a16="http://schemas.microsoft.com/office/drawing/2014/main" id="{49F52B6F-C48E-41C3-B873-F94FE0C520AC}"/>
                  </a:ext>
                </a:extLst>
              </p:cNvPr>
              <p:cNvSpPr/>
              <p:nvPr/>
            </p:nvSpPr>
            <p:spPr>
              <a:xfrm>
                <a:off x="8856271" y="2713801"/>
                <a:ext cx="66915" cy="58784"/>
              </a:xfrm>
              <a:custGeom>
                <a:avLst/>
                <a:gdLst>
                  <a:gd name="connsiteX0" fmla="*/ 18917 w 66915"/>
                  <a:gd name="connsiteY0" fmla="*/ 0 h 58784"/>
                  <a:gd name="connsiteX1" fmla="*/ 0 w 66915"/>
                  <a:gd name="connsiteY1" fmla="*/ 33946 h 58784"/>
                  <a:gd name="connsiteX2" fmla="*/ 7343 w 66915"/>
                  <a:gd name="connsiteY2" fmla="*/ 47215 h 58784"/>
                  <a:gd name="connsiteX3" fmla="*/ 31320 w 66915"/>
                  <a:gd name="connsiteY3" fmla="*/ 58760 h 58784"/>
                  <a:gd name="connsiteX4" fmla="*/ 58492 w 66915"/>
                  <a:gd name="connsiteY4" fmla="*/ 57985 h 58784"/>
                  <a:gd name="connsiteX5" fmla="*/ 66913 w 66915"/>
                  <a:gd name="connsiteY5" fmla="*/ 48680 h 58784"/>
                  <a:gd name="connsiteX6" fmla="*/ 66042 w 66915"/>
                  <a:gd name="connsiteY6" fmla="*/ 15121 h 58784"/>
                  <a:gd name="connsiteX7" fmla="*/ 57165 w 66915"/>
                  <a:gd name="connsiteY7" fmla="*/ 6333 h 58784"/>
                  <a:gd name="connsiteX8" fmla="*/ 20037 w 66915"/>
                  <a:gd name="connsiteY8" fmla="*/ 7367 h 58784"/>
                  <a:gd name="connsiteX9" fmla="*/ 17340 w 66915"/>
                  <a:gd name="connsiteY9" fmla="*/ 2972 h 58784"/>
                  <a:gd name="connsiteX10" fmla="*/ 18917 w 66915"/>
                  <a:gd name="connsiteY10" fmla="*/ 0 h 58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6915" h="58784">
                    <a:moveTo>
                      <a:pt x="18917" y="0"/>
                    </a:moveTo>
                    <a:lnTo>
                      <a:pt x="0" y="33946"/>
                    </a:lnTo>
                    <a:cubicBezTo>
                      <a:pt x="3650" y="40495"/>
                      <a:pt x="6555" y="45750"/>
                      <a:pt x="7343" y="47215"/>
                    </a:cubicBezTo>
                    <a:cubicBezTo>
                      <a:pt x="9500" y="51307"/>
                      <a:pt x="12611" y="59277"/>
                      <a:pt x="31320" y="58760"/>
                    </a:cubicBezTo>
                    <a:cubicBezTo>
                      <a:pt x="49988" y="58243"/>
                      <a:pt x="58492" y="57985"/>
                      <a:pt x="58492" y="57985"/>
                    </a:cubicBezTo>
                    <a:cubicBezTo>
                      <a:pt x="63263" y="57855"/>
                      <a:pt x="67037" y="53677"/>
                      <a:pt x="66913" y="48680"/>
                    </a:cubicBezTo>
                    <a:lnTo>
                      <a:pt x="66042" y="15121"/>
                    </a:lnTo>
                    <a:cubicBezTo>
                      <a:pt x="65917" y="10167"/>
                      <a:pt x="61935" y="6203"/>
                      <a:pt x="57165" y="6333"/>
                    </a:cubicBezTo>
                    <a:cubicBezTo>
                      <a:pt x="57165" y="6333"/>
                      <a:pt x="25347" y="7194"/>
                      <a:pt x="20037" y="7367"/>
                    </a:cubicBezTo>
                    <a:cubicBezTo>
                      <a:pt x="16677" y="7453"/>
                      <a:pt x="16220" y="5126"/>
                      <a:pt x="17340" y="2972"/>
                    </a:cubicBezTo>
                    <a:cubicBezTo>
                      <a:pt x="17506" y="2628"/>
                      <a:pt x="18087" y="1551"/>
                      <a:pt x="18917" y="0"/>
                    </a:cubicBezTo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8" name="Freeform: Shape 497">
                <a:extLst>
                  <a:ext uri="{FF2B5EF4-FFF2-40B4-BE49-F238E27FC236}">
                    <a16:creationId xmlns:a16="http://schemas.microsoft.com/office/drawing/2014/main" id="{C7999C58-1173-4479-B3E2-30A7A7E57F8B}"/>
                  </a:ext>
                </a:extLst>
              </p:cNvPr>
              <p:cNvSpPr/>
              <p:nvPr/>
            </p:nvSpPr>
            <p:spPr>
              <a:xfrm>
                <a:off x="8970758" y="2650825"/>
                <a:ext cx="58889" cy="97611"/>
              </a:xfrm>
              <a:custGeom>
                <a:avLst/>
                <a:gdLst>
                  <a:gd name="connsiteX0" fmla="*/ 18469 w 58889"/>
                  <a:gd name="connsiteY0" fmla="*/ 64096 h 97611"/>
                  <a:gd name="connsiteX1" fmla="*/ 35352 w 58889"/>
                  <a:gd name="connsiteY1" fmla="*/ 97612 h 97611"/>
                  <a:gd name="connsiteX2" fmla="*/ 53813 w 58889"/>
                  <a:gd name="connsiteY2" fmla="*/ 59056 h 97611"/>
                  <a:gd name="connsiteX3" fmla="*/ 57629 w 58889"/>
                  <a:gd name="connsiteY3" fmla="*/ 33467 h 97611"/>
                  <a:gd name="connsiteX4" fmla="*/ 42612 w 58889"/>
                  <a:gd name="connsiteY4" fmla="*/ 4431 h 97611"/>
                  <a:gd name="connsiteX5" fmla="*/ 31204 w 58889"/>
                  <a:gd name="connsiteY5" fmla="*/ 1373 h 97611"/>
                  <a:gd name="connsiteX6" fmla="*/ 4116 w 58889"/>
                  <a:gd name="connsiteY6" fmla="*/ 19638 h 97611"/>
                  <a:gd name="connsiteX7" fmla="*/ 1211 w 58889"/>
                  <a:gd name="connsiteY7" fmla="*/ 32347 h 97611"/>
                  <a:gd name="connsiteX8" fmla="*/ 14693 w 58889"/>
                  <a:gd name="connsiteY8" fmla="*/ 56557 h 97611"/>
                  <a:gd name="connsiteX9" fmla="*/ 17721 w 58889"/>
                  <a:gd name="connsiteY9" fmla="*/ 61985 h 97611"/>
                  <a:gd name="connsiteX10" fmla="*/ 18469 w 58889"/>
                  <a:gd name="connsiteY10" fmla="*/ 64096 h 97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889" h="97611">
                    <a:moveTo>
                      <a:pt x="18469" y="64096"/>
                    </a:moveTo>
                    <a:lnTo>
                      <a:pt x="35352" y="97612"/>
                    </a:lnTo>
                    <a:cubicBezTo>
                      <a:pt x="40828" y="86540"/>
                      <a:pt x="50037" y="67370"/>
                      <a:pt x="53813" y="59056"/>
                    </a:cubicBezTo>
                    <a:cubicBezTo>
                      <a:pt x="58874" y="47941"/>
                      <a:pt x="60160" y="38421"/>
                      <a:pt x="57629" y="33467"/>
                    </a:cubicBezTo>
                    <a:cubicBezTo>
                      <a:pt x="55098" y="28513"/>
                      <a:pt x="42612" y="4431"/>
                      <a:pt x="42612" y="4431"/>
                    </a:cubicBezTo>
                    <a:cubicBezTo>
                      <a:pt x="40331" y="37"/>
                      <a:pt x="35228" y="-1298"/>
                      <a:pt x="31204" y="1373"/>
                    </a:cubicBezTo>
                    <a:lnTo>
                      <a:pt x="4116" y="19638"/>
                    </a:lnTo>
                    <a:cubicBezTo>
                      <a:pt x="91" y="22352"/>
                      <a:pt x="-1194" y="28082"/>
                      <a:pt x="1211" y="32347"/>
                    </a:cubicBezTo>
                    <a:cubicBezTo>
                      <a:pt x="1211" y="32347"/>
                      <a:pt x="9881" y="47855"/>
                      <a:pt x="14693" y="56557"/>
                    </a:cubicBezTo>
                    <a:cubicBezTo>
                      <a:pt x="16187" y="59271"/>
                      <a:pt x="17307" y="61296"/>
                      <a:pt x="17721" y="61985"/>
                    </a:cubicBezTo>
                    <a:cubicBezTo>
                      <a:pt x="18054" y="62761"/>
                      <a:pt x="18344" y="63450"/>
                      <a:pt x="18469" y="64096"/>
                    </a:cubicBezTo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9" name="Freeform: Shape 498">
                <a:extLst>
                  <a:ext uri="{FF2B5EF4-FFF2-40B4-BE49-F238E27FC236}">
                    <a16:creationId xmlns:a16="http://schemas.microsoft.com/office/drawing/2014/main" id="{AF97C8F9-F9C9-418C-94D0-5EFE5D22D2F1}"/>
                  </a:ext>
                </a:extLst>
              </p:cNvPr>
              <p:cNvSpPr/>
              <p:nvPr/>
            </p:nvSpPr>
            <p:spPr>
              <a:xfrm>
                <a:off x="8926572" y="2702067"/>
                <a:ext cx="79497" cy="84227"/>
              </a:xfrm>
              <a:custGeom>
                <a:avLst/>
                <a:gdLst>
                  <a:gd name="connsiteX0" fmla="*/ 75639 w 79497"/>
                  <a:gd name="connsiteY0" fmla="*/ 54038 h 84227"/>
                  <a:gd name="connsiteX1" fmla="*/ 79498 w 79497"/>
                  <a:gd name="connsiteY1" fmla="*/ 46370 h 84227"/>
                  <a:gd name="connsiteX2" fmla="*/ 62614 w 79497"/>
                  <a:gd name="connsiteY2" fmla="*/ 12854 h 84227"/>
                  <a:gd name="connsiteX3" fmla="*/ 59752 w 79497"/>
                  <a:gd name="connsiteY3" fmla="*/ 16215 h 84227"/>
                  <a:gd name="connsiteX4" fmla="*/ 42992 w 79497"/>
                  <a:gd name="connsiteY4" fmla="*/ 16689 h 84227"/>
                  <a:gd name="connsiteX5" fmla="*/ 42701 w 79497"/>
                  <a:gd name="connsiteY5" fmla="*/ 6177 h 84227"/>
                  <a:gd name="connsiteX6" fmla="*/ 35857 w 79497"/>
                  <a:gd name="connsiteY6" fmla="*/ 1912 h 84227"/>
                  <a:gd name="connsiteX7" fmla="*/ 25776 w 79497"/>
                  <a:gd name="connsiteY7" fmla="*/ 12467 h 84227"/>
                  <a:gd name="connsiteX8" fmla="*/ 12709 w 79497"/>
                  <a:gd name="connsiteY8" fmla="*/ 26123 h 84227"/>
                  <a:gd name="connsiteX9" fmla="*/ 2587 w 79497"/>
                  <a:gd name="connsiteY9" fmla="*/ 36677 h 84227"/>
                  <a:gd name="connsiteX10" fmla="*/ 2960 w 79497"/>
                  <a:gd name="connsiteY10" fmla="*/ 49903 h 84227"/>
                  <a:gd name="connsiteX11" fmla="*/ 13663 w 79497"/>
                  <a:gd name="connsiteY11" fmla="*/ 59811 h 84227"/>
                  <a:gd name="connsiteX12" fmla="*/ 27477 w 79497"/>
                  <a:gd name="connsiteY12" fmla="*/ 72605 h 84227"/>
                  <a:gd name="connsiteX13" fmla="*/ 38179 w 79497"/>
                  <a:gd name="connsiteY13" fmla="*/ 82514 h 84227"/>
                  <a:gd name="connsiteX14" fmla="*/ 44776 w 79497"/>
                  <a:gd name="connsiteY14" fmla="*/ 77861 h 84227"/>
                  <a:gd name="connsiteX15" fmla="*/ 44485 w 79497"/>
                  <a:gd name="connsiteY15" fmla="*/ 67866 h 84227"/>
                  <a:gd name="connsiteX16" fmla="*/ 57304 w 79497"/>
                  <a:gd name="connsiteY16" fmla="*/ 67479 h 84227"/>
                  <a:gd name="connsiteX17" fmla="*/ 75639 w 79497"/>
                  <a:gd name="connsiteY17" fmla="*/ 54038 h 84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9497" h="84227">
                    <a:moveTo>
                      <a:pt x="75639" y="54038"/>
                    </a:moveTo>
                    <a:cubicBezTo>
                      <a:pt x="76262" y="52918"/>
                      <a:pt x="77672" y="50075"/>
                      <a:pt x="79498" y="46370"/>
                    </a:cubicBezTo>
                    <a:lnTo>
                      <a:pt x="62614" y="12854"/>
                    </a:lnTo>
                    <a:cubicBezTo>
                      <a:pt x="62987" y="14793"/>
                      <a:pt x="62074" y="16171"/>
                      <a:pt x="59752" y="16215"/>
                    </a:cubicBezTo>
                    <a:cubicBezTo>
                      <a:pt x="58133" y="16258"/>
                      <a:pt x="50252" y="16473"/>
                      <a:pt x="42992" y="16689"/>
                    </a:cubicBezTo>
                    <a:lnTo>
                      <a:pt x="42701" y="6177"/>
                    </a:lnTo>
                    <a:cubicBezTo>
                      <a:pt x="42535" y="103"/>
                      <a:pt x="39466" y="-1836"/>
                      <a:pt x="35857" y="1912"/>
                    </a:cubicBezTo>
                    <a:lnTo>
                      <a:pt x="25776" y="12467"/>
                    </a:lnTo>
                    <a:cubicBezTo>
                      <a:pt x="22209" y="16215"/>
                      <a:pt x="16317" y="22375"/>
                      <a:pt x="12709" y="26123"/>
                    </a:cubicBezTo>
                    <a:lnTo>
                      <a:pt x="2587" y="36677"/>
                    </a:lnTo>
                    <a:cubicBezTo>
                      <a:pt x="-1023" y="40425"/>
                      <a:pt x="-815" y="46413"/>
                      <a:pt x="2960" y="49903"/>
                    </a:cubicBezTo>
                    <a:lnTo>
                      <a:pt x="13663" y="59811"/>
                    </a:lnTo>
                    <a:cubicBezTo>
                      <a:pt x="17479" y="63343"/>
                      <a:pt x="23702" y="69116"/>
                      <a:pt x="27477" y="72605"/>
                    </a:cubicBezTo>
                    <a:lnTo>
                      <a:pt x="38179" y="82514"/>
                    </a:lnTo>
                    <a:cubicBezTo>
                      <a:pt x="41997" y="86046"/>
                      <a:pt x="44942" y="83935"/>
                      <a:pt x="44776" y="77861"/>
                    </a:cubicBezTo>
                    <a:lnTo>
                      <a:pt x="44485" y="67866"/>
                    </a:lnTo>
                    <a:cubicBezTo>
                      <a:pt x="48592" y="67737"/>
                      <a:pt x="53114" y="67608"/>
                      <a:pt x="57304" y="67479"/>
                    </a:cubicBezTo>
                    <a:cubicBezTo>
                      <a:pt x="68961" y="67307"/>
                      <a:pt x="73192" y="58561"/>
                      <a:pt x="75639" y="54038"/>
                    </a:cubicBezTo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500" name="Freeform: Shape 499">
            <a:extLst>
              <a:ext uri="{FF2B5EF4-FFF2-40B4-BE49-F238E27FC236}">
                <a16:creationId xmlns:a16="http://schemas.microsoft.com/office/drawing/2014/main" id="{62C58961-2F28-4DF0-B68C-E23A49FBA53A}"/>
              </a:ext>
            </a:extLst>
          </p:cNvPr>
          <p:cNvSpPr/>
          <p:nvPr/>
        </p:nvSpPr>
        <p:spPr>
          <a:xfrm>
            <a:off x="3328027" y="3817016"/>
            <a:ext cx="2679681" cy="127643"/>
          </a:xfrm>
          <a:custGeom>
            <a:avLst/>
            <a:gdLst>
              <a:gd name="connsiteX0" fmla="*/ 0 w 2679681"/>
              <a:gd name="connsiteY0" fmla="*/ 0 h 127643"/>
              <a:gd name="connsiteX1" fmla="*/ 2679682 w 2679681"/>
              <a:gd name="connsiteY1" fmla="*/ 0 h 127643"/>
              <a:gd name="connsiteX2" fmla="*/ 2679682 w 2679681"/>
              <a:gd name="connsiteY2" fmla="*/ 127644 h 127643"/>
              <a:gd name="connsiteX3" fmla="*/ 0 w 2679681"/>
              <a:gd name="connsiteY3" fmla="*/ 127644 h 127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79681" h="127643">
                <a:moveTo>
                  <a:pt x="0" y="0"/>
                </a:moveTo>
                <a:lnTo>
                  <a:pt x="2679682" y="0"/>
                </a:lnTo>
                <a:lnTo>
                  <a:pt x="2679682" y="127644"/>
                </a:lnTo>
                <a:lnTo>
                  <a:pt x="0" y="127644"/>
                </a:lnTo>
                <a:close/>
              </a:path>
            </a:pathLst>
          </a:custGeom>
          <a:noFill/>
          <a:ln w="414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01" name="Freeform: Shape 500">
            <a:extLst>
              <a:ext uri="{FF2B5EF4-FFF2-40B4-BE49-F238E27FC236}">
                <a16:creationId xmlns:a16="http://schemas.microsoft.com/office/drawing/2014/main" id="{BE4627A5-07C3-4531-8333-2E567C4215D3}"/>
              </a:ext>
            </a:extLst>
          </p:cNvPr>
          <p:cNvSpPr/>
          <p:nvPr/>
        </p:nvSpPr>
        <p:spPr>
          <a:xfrm>
            <a:off x="1310716" y="3554363"/>
            <a:ext cx="2000054" cy="329340"/>
          </a:xfrm>
          <a:custGeom>
            <a:avLst/>
            <a:gdLst>
              <a:gd name="connsiteX0" fmla="*/ 0 w 2000054"/>
              <a:gd name="connsiteY0" fmla="*/ 0 h 329340"/>
              <a:gd name="connsiteX1" fmla="*/ 2000054 w 2000054"/>
              <a:gd name="connsiteY1" fmla="*/ 0 h 329340"/>
              <a:gd name="connsiteX2" fmla="*/ 2000054 w 2000054"/>
              <a:gd name="connsiteY2" fmla="*/ 329340 h 329340"/>
              <a:gd name="connsiteX3" fmla="*/ 0 w 2000054"/>
              <a:gd name="connsiteY3" fmla="*/ 329340 h 32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00054" h="329340">
                <a:moveTo>
                  <a:pt x="0" y="0"/>
                </a:moveTo>
                <a:lnTo>
                  <a:pt x="2000054" y="0"/>
                </a:lnTo>
                <a:lnTo>
                  <a:pt x="2000054" y="329340"/>
                </a:lnTo>
                <a:lnTo>
                  <a:pt x="0" y="329340"/>
                </a:lnTo>
                <a:close/>
              </a:path>
            </a:pathLst>
          </a:custGeom>
          <a:noFill/>
          <a:ln w="414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02" name="Freeform: Shape 501">
            <a:extLst>
              <a:ext uri="{FF2B5EF4-FFF2-40B4-BE49-F238E27FC236}">
                <a16:creationId xmlns:a16="http://schemas.microsoft.com/office/drawing/2014/main" id="{BA886B43-3B59-4F19-8DD0-9E278286F946}"/>
              </a:ext>
            </a:extLst>
          </p:cNvPr>
          <p:cNvSpPr/>
          <p:nvPr/>
        </p:nvSpPr>
        <p:spPr>
          <a:xfrm>
            <a:off x="3507735" y="3554363"/>
            <a:ext cx="2000054" cy="329340"/>
          </a:xfrm>
          <a:custGeom>
            <a:avLst/>
            <a:gdLst>
              <a:gd name="connsiteX0" fmla="*/ 0 w 2000054"/>
              <a:gd name="connsiteY0" fmla="*/ 0 h 329340"/>
              <a:gd name="connsiteX1" fmla="*/ 2000054 w 2000054"/>
              <a:gd name="connsiteY1" fmla="*/ 0 h 329340"/>
              <a:gd name="connsiteX2" fmla="*/ 2000054 w 2000054"/>
              <a:gd name="connsiteY2" fmla="*/ 329340 h 329340"/>
              <a:gd name="connsiteX3" fmla="*/ 0 w 2000054"/>
              <a:gd name="connsiteY3" fmla="*/ 329340 h 32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00054" h="329340">
                <a:moveTo>
                  <a:pt x="0" y="0"/>
                </a:moveTo>
                <a:lnTo>
                  <a:pt x="2000054" y="0"/>
                </a:lnTo>
                <a:lnTo>
                  <a:pt x="2000054" y="329340"/>
                </a:lnTo>
                <a:lnTo>
                  <a:pt x="0" y="329340"/>
                </a:lnTo>
                <a:close/>
              </a:path>
            </a:pathLst>
          </a:custGeom>
          <a:noFill/>
          <a:ln w="414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03" name="Freeform: Shape 502">
            <a:extLst>
              <a:ext uri="{FF2B5EF4-FFF2-40B4-BE49-F238E27FC236}">
                <a16:creationId xmlns:a16="http://schemas.microsoft.com/office/drawing/2014/main" id="{3BF76A7F-7259-4627-BAA5-F111C21D1D7B}"/>
              </a:ext>
            </a:extLst>
          </p:cNvPr>
          <p:cNvSpPr/>
          <p:nvPr/>
        </p:nvSpPr>
        <p:spPr>
          <a:xfrm>
            <a:off x="5885664" y="3554363"/>
            <a:ext cx="2000054" cy="276051"/>
          </a:xfrm>
          <a:custGeom>
            <a:avLst/>
            <a:gdLst>
              <a:gd name="connsiteX0" fmla="*/ 0 w 2000054"/>
              <a:gd name="connsiteY0" fmla="*/ 0 h 276051"/>
              <a:gd name="connsiteX1" fmla="*/ 2000054 w 2000054"/>
              <a:gd name="connsiteY1" fmla="*/ 0 h 276051"/>
              <a:gd name="connsiteX2" fmla="*/ 2000054 w 2000054"/>
              <a:gd name="connsiteY2" fmla="*/ 276052 h 276051"/>
              <a:gd name="connsiteX3" fmla="*/ 0 w 2000054"/>
              <a:gd name="connsiteY3" fmla="*/ 276052 h 276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00054" h="276051">
                <a:moveTo>
                  <a:pt x="0" y="0"/>
                </a:moveTo>
                <a:lnTo>
                  <a:pt x="2000054" y="0"/>
                </a:lnTo>
                <a:lnTo>
                  <a:pt x="2000054" y="276052"/>
                </a:lnTo>
                <a:lnTo>
                  <a:pt x="0" y="276052"/>
                </a:lnTo>
                <a:close/>
              </a:path>
            </a:pathLst>
          </a:custGeom>
          <a:noFill/>
          <a:ln w="414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509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3200838" y="1415904"/>
            <a:ext cx="335064" cy="337289"/>
            <a:chOff x="3200838" y="1415904"/>
            <a:chExt cx="335064" cy="337289"/>
          </a:xfrm>
          <a:solidFill>
            <a:schemeClr val="accent1"/>
          </a:solidFill>
        </p:grpSpPr>
        <p:grpSp>
          <p:nvGrpSpPr>
            <p:cNvPr id="510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3234694" y="1440305"/>
              <a:ext cx="296520" cy="269627"/>
              <a:chOff x="3234694" y="1440305"/>
              <a:chExt cx="296520" cy="269627"/>
            </a:xfrm>
            <a:solidFill>
              <a:srgbClr val="27509B"/>
            </a:solidFill>
          </p:grpSpPr>
          <p:sp>
            <p:nvSpPr>
              <p:cNvPr id="511" name="Freeform: Shape 510">
                <a:extLst>
                  <a:ext uri="{FF2B5EF4-FFF2-40B4-BE49-F238E27FC236}">
                    <a16:creationId xmlns:a16="http://schemas.microsoft.com/office/drawing/2014/main" id="{03CAA560-3754-4425-996A-604F71A57A70}"/>
                  </a:ext>
                </a:extLst>
              </p:cNvPr>
              <p:cNvSpPr/>
              <p:nvPr/>
            </p:nvSpPr>
            <p:spPr>
              <a:xfrm>
                <a:off x="3234694" y="1440305"/>
                <a:ext cx="267386" cy="269627"/>
              </a:xfrm>
              <a:custGeom>
                <a:avLst/>
                <a:gdLst>
                  <a:gd name="connsiteX0" fmla="*/ 266611 w 267386"/>
                  <a:gd name="connsiteY0" fmla="*/ 127762 h 269627"/>
                  <a:gd name="connsiteX1" fmla="*/ 260471 w 267386"/>
                  <a:gd name="connsiteY1" fmla="*/ 131940 h 269627"/>
                  <a:gd name="connsiteX2" fmla="*/ 252299 w 267386"/>
                  <a:gd name="connsiteY2" fmla="*/ 125005 h 269627"/>
                  <a:gd name="connsiteX3" fmla="*/ 186921 w 267386"/>
                  <a:gd name="connsiteY3" fmla="*/ 27861 h 269627"/>
                  <a:gd name="connsiteX4" fmla="*/ 27582 w 267386"/>
                  <a:gd name="connsiteY4" fmla="*/ 81451 h 269627"/>
                  <a:gd name="connsiteX5" fmla="*/ 80847 w 267386"/>
                  <a:gd name="connsiteY5" fmla="*/ 241792 h 269627"/>
                  <a:gd name="connsiteX6" fmla="*/ 167299 w 267386"/>
                  <a:gd name="connsiteY6" fmla="*/ 249546 h 269627"/>
                  <a:gd name="connsiteX7" fmla="*/ 176674 w 267386"/>
                  <a:gd name="connsiteY7" fmla="*/ 254716 h 269627"/>
                  <a:gd name="connsiteX8" fmla="*/ 171572 w 267386"/>
                  <a:gd name="connsiteY8" fmla="*/ 264150 h 269627"/>
                  <a:gd name="connsiteX9" fmla="*/ 74126 w 267386"/>
                  <a:gd name="connsiteY9" fmla="*/ 255405 h 269627"/>
                  <a:gd name="connsiteX10" fmla="*/ 14058 w 267386"/>
                  <a:gd name="connsiteY10" fmla="*/ 74602 h 269627"/>
                  <a:gd name="connsiteX11" fmla="*/ 193683 w 267386"/>
                  <a:gd name="connsiteY11" fmla="*/ 14162 h 269627"/>
                  <a:gd name="connsiteX12" fmla="*/ 267358 w 267386"/>
                  <a:gd name="connsiteY12" fmla="*/ 123669 h 269627"/>
                  <a:gd name="connsiteX13" fmla="*/ 266611 w 267386"/>
                  <a:gd name="connsiteY13" fmla="*/ 127762 h 269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7386" h="269627">
                    <a:moveTo>
                      <a:pt x="266611" y="127762"/>
                    </a:moveTo>
                    <a:cubicBezTo>
                      <a:pt x="265491" y="130045"/>
                      <a:pt x="263209" y="131725"/>
                      <a:pt x="260471" y="131940"/>
                    </a:cubicBezTo>
                    <a:cubicBezTo>
                      <a:pt x="256323" y="132285"/>
                      <a:pt x="252672" y="129183"/>
                      <a:pt x="252299" y="125005"/>
                    </a:cubicBezTo>
                    <a:cubicBezTo>
                      <a:pt x="248814" y="82959"/>
                      <a:pt x="224380" y="46643"/>
                      <a:pt x="186921" y="27861"/>
                    </a:cubicBezTo>
                    <a:cubicBezTo>
                      <a:pt x="128304" y="-1562"/>
                      <a:pt x="56828" y="22476"/>
                      <a:pt x="27582" y="81451"/>
                    </a:cubicBezTo>
                    <a:cubicBezTo>
                      <a:pt x="-1664" y="140427"/>
                      <a:pt x="22230" y="212369"/>
                      <a:pt x="80847" y="241792"/>
                    </a:cubicBezTo>
                    <a:cubicBezTo>
                      <a:pt x="107770" y="255319"/>
                      <a:pt x="138468" y="258076"/>
                      <a:pt x="167299" y="249546"/>
                    </a:cubicBezTo>
                    <a:cubicBezTo>
                      <a:pt x="171323" y="248383"/>
                      <a:pt x="175513" y="250667"/>
                      <a:pt x="176674" y="254716"/>
                    </a:cubicBezTo>
                    <a:cubicBezTo>
                      <a:pt x="177836" y="258765"/>
                      <a:pt x="175554" y="262987"/>
                      <a:pt x="171572" y="264150"/>
                    </a:cubicBezTo>
                    <a:cubicBezTo>
                      <a:pt x="139049" y="273757"/>
                      <a:pt x="104451" y="270655"/>
                      <a:pt x="74126" y="255405"/>
                    </a:cubicBezTo>
                    <a:cubicBezTo>
                      <a:pt x="8043" y="222234"/>
                      <a:pt x="-18880" y="141116"/>
                      <a:pt x="14058" y="74602"/>
                    </a:cubicBezTo>
                    <a:cubicBezTo>
                      <a:pt x="47037" y="8088"/>
                      <a:pt x="127599" y="-19009"/>
                      <a:pt x="193683" y="14162"/>
                    </a:cubicBezTo>
                    <a:cubicBezTo>
                      <a:pt x="235913" y="35357"/>
                      <a:pt x="263458" y="76282"/>
                      <a:pt x="267358" y="123669"/>
                    </a:cubicBezTo>
                    <a:cubicBezTo>
                      <a:pt x="267482" y="125177"/>
                      <a:pt x="267192" y="126555"/>
                      <a:pt x="266611" y="127762"/>
                    </a:cubicBezTo>
                    <a:close/>
                  </a:path>
                </a:pathLst>
              </a:custGeom>
              <a:solidFill>
                <a:srgbClr val="27509B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2" name="Freeform: Shape 511">
                <a:extLst>
                  <a:ext uri="{FF2B5EF4-FFF2-40B4-BE49-F238E27FC236}">
                    <a16:creationId xmlns:a16="http://schemas.microsoft.com/office/drawing/2014/main" id="{7ACD3E51-E976-48EC-BF14-D281F0A3B156}"/>
                  </a:ext>
                </a:extLst>
              </p:cNvPr>
              <p:cNvSpPr/>
              <p:nvPr/>
            </p:nvSpPr>
            <p:spPr>
              <a:xfrm>
                <a:off x="3456171" y="1549672"/>
                <a:ext cx="75043" cy="69185"/>
              </a:xfrm>
              <a:custGeom>
                <a:avLst/>
                <a:gdLst>
                  <a:gd name="connsiteX0" fmla="*/ 75044 w 75043"/>
                  <a:gd name="connsiteY0" fmla="*/ 7496 h 69185"/>
                  <a:gd name="connsiteX1" fmla="*/ 31071 w 75043"/>
                  <a:gd name="connsiteY1" fmla="*/ 69185 h 69185"/>
                  <a:gd name="connsiteX2" fmla="*/ 0 w 75043"/>
                  <a:gd name="connsiteY2" fmla="*/ 0 h 69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043" h="69185">
                    <a:moveTo>
                      <a:pt x="75044" y="7496"/>
                    </a:moveTo>
                    <a:lnTo>
                      <a:pt x="31071" y="6918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7509B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513" name="Freeform: Shape 512">
              <a:extLst>
                <a:ext uri="{FF2B5EF4-FFF2-40B4-BE49-F238E27FC236}">
                  <a16:creationId xmlns:a16="http://schemas.microsoft.com/office/drawing/2014/main" id="{75E6F9FF-CCDF-45E1-889E-DEF7EEC8C869}"/>
                </a:ext>
              </a:extLst>
            </p:cNvPr>
            <p:cNvSpPr/>
            <p:nvPr/>
          </p:nvSpPr>
          <p:spPr>
            <a:xfrm>
              <a:off x="3200838" y="1415904"/>
              <a:ext cx="335064" cy="337289"/>
            </a:xfrm>
            <a:custGeom>
              <a:avLst/>
              <a:gdLst>
                <a:gd name="connsiteX0" fmla="*/ 334110 w 335064"/>
                <a:gd name="connsiteY0" fmla="*/ 150785 h 337289"/>
                <a:gd name="connsiteX1" fmla="*/ 185267 w 335064"/>
                <a:gd name="connsiteY1" fmla="*/ 336327 h 337289"/>
                <a:gd name="connsiteX2" fmla="*/ 955 w 335064"/>
                <a:gd name="connsiteY2" fmla="*/ 186497 h 337289"/>
                <a:gd name="connsiteX3" fmla="*/ 149798 w 335064"/>
                <a:gd name="connsiteY3" fmla="*/ 955 h 337289"/>
                <a:gd name="connsiteX4" fmla="*/ 334110 w 335064"/>
                <a:gd name="connsiteY4" fmla="*/ 150785 h 33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5064" h="337289">
                  <a:moveTo>
                    <a:pt x="334110" y="150785"/>
                  </a:moveTo>
                  <a:cubicBezTo>
                    <a:pt x="343900" y="243405"/>
                    <a:pt x="277278" y="326462"/>
                    <a:pt x="185267" y="336327"/>
                  </a:cubicBezTo>
                  <a:cubicBezTo>
                    <a:pt x="93297" y="346192"/>
                    <a:pt x="10745" y="279118"/>
                    <a:pt x="955" y="186497"/>
                  </a:cubicBezTo>
                  <a:cubicBezTo>
                    <a:pt x="-8835" y="93920"/>
                    <a:pt x="57787" y="10820"/>
                    <a:pt x="149798" y="955"/>
                  </a:cubicBezTo>
                  <a:cubicBezTo>
                    <a:pt x="241768" y="-8867"/>
                    <a:pt x="324320" y="58164"/>
                    <a:pt x="334110" y="150785"/>
                  </a:cubicBezTo>
                  <a:close/>
                </a:path>
              </a:pathLst>
            </a:custGeom>
            <a:noFill/>
            <a:ln w="41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14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3091679" y="1692564"/>
            <a:ext cx="488961" cy="556326"/>
            <a:chOff x="3091679" y="1692564"/>
            <a:chExt cx="488961" cy="556326"/>
          </a:xfrm>
          <a:solidFill>
            <a:schemeClr val="accent1"/>
          </a:solidFill>
        </p:grpSpPr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14E71C43-0D65-4176-A4E9-20B19267DF33}"/>
                </a:ext>
              </a:extLst>
            </p:cNvPr>
            <p:cNvSpPr/>
            <p:nvPr/>
          </p:nvSpPr>
          <p:spPr>
            <a:xfrm>
              <a:off x="3091679" y="1692564"/>
              <a:ext cx="488961" cy="477621"/>
            </a:xfrm>
            <a:custGeom>
              <a:avLst/>
              <a:gdLst>
                <a:gd name="connsiteX0" fmla="*/ 161761 w 488961"/>
                <a:gd name="connsiteY0" fmla="*/ 477621 h 477621"/>
                <a:gd name="connsiteX1" fmla="*/ 3044 w 488961"/>
                <a:gd name="connsiteY1" fmla="*/ 284540 h 477621"/>
                <a:gd name="connsiteX2" fmla="*/ 206231 w 488961"/>
                <a:gd name="connsiteY2" fmla="*/ 3061 h 477621"/>
                <a:gd name="connsiteX3" fmla="*/ 485915 w 488961"/>
                <a:gd name="connsiteY3" fmla="*/ 207601 h 477621"/>
                <a:gd name="connsiteX4" fmla="*/ 418794 w 488961"/>
                <a:gd name="connsiteY4" fmla="*/ 418560 h 477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8961" h="477621">
                  <a:moveTo>
                    <a:pt x="161761" y="477621"/>
                  </a:moveTo>
                  <a:cubicBezTo>
                    <a:pt x="80619" y="448198"/>
                    <a:pt x="17481" y="376342"/>
                    <a:pt x="3044" y="284540"/>
                  </a:cubicBezTo>
                  <a:cubicBezTo>
                    <a:pt x="-18071" y="150349"/>
                    <a:pt x="72903" y="24299"/>
                    <a:pt x="206231" y="3061"/>
                  </a:cubicBezTo>
                  <a:cubicBezTo>
                    <a:pt x="339560" y="-18177"/>
                    <a:pt x="464799" y="73366"/>
                    <a:pt x="485915" y="207601"/>
                  </a:cubicBezTo>
                  <a:cubicBezTo>
                    <a:pt x="498526" y="287685"/>
                    <a:pt x="471188" y="364840"/>
                    <a:pt x="418794" y="418560"/>
                  </a:cubicBezTo>
                </a:path>
              </a:pathLst>
            </a:custGeom>
            <a:noFill/>
            <a:ln w="70483" cap="rnd">
              <a:solidFill>
                <a:srgbClr val="2750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6" name="Freeform: Shape 515">
              <a:extLst>
                <a:ext uri="{FF2B5EF4-FFF2-40B4-BE49-F238E27FC236}">
                  <a16:creationId xmlns:a16="http://schemas.microsoft.com/office/drawing/2014/main" id="{E19DA155-E7C0-4300-8B26-F7B0F25EB600}"/>
                </a:ext>
              </a:extLst>
            </p:cNvPr>
            <p:cNvSpPr/>
            <p:nvPr/>
          </p:nvSpPr>
          <p:spPr>
            <a:xfrm>
              <a:off x="3218552" y="2075066"/>
              <a:ext cx="155854" cy="173824"/>
            </a:xfrm>
            <a:custGeom>
              <a:avLst/>
              <a:gdLst>
                <a:gd name="connsiteX0" fmla="*/ 21862 w 155854"/>
                <a:gd name="connsiteY0" fmla="*/ 0 h 173824"/>
                <a:gd name="connsiteX1" fmla="*/ 155854 w 155854"/>
                <a:gd name="connsiteY1" fmla="*/ 106535 h 173824"/>
                <a:gd name="connsiteX2" fmla="*/ 0 w 155854"/>
                <a:gd name="connsiteY2" fmla="*/ 173825 h 173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5854" h="173824">
                  <a:moveTo>
                    <a:pt x="21862" y="0"/>
                  </a:moveTo>
                  <a:lnTo>
                    <a:pt x="155854" y="106535"/>
                  </a:lnTo>
                  <a:lnTo>
                    <a:pt x="0" y="173825"/>
                  </a:lnTo>
                  <a:close/>
                </a:path>
              </a:pathLst>
            </a:custGeom>
            <a:solidFill>
              <a:srgbClr val="27509B"/>
            </a:solidFill>
            <a:ln w="41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17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2862411" y="1571681"/>
            <a:ext cx="335112" cy="337276"/>
            <a:chOff x="2862411" y="1571681"/>
            <a:chExt cx="335112" cy="337276"/>
          </a:xfrm>
          <a:solidFill>
            <a:schemeClr val="accent1"/>
          </a:solidFill>
        </p:grpSpPr>
        <p:grpSp>
          <p:nvGrpSpPr>
            <p:cNvPr id="518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2889047" y="1597188"/>
              <a:ext cx="257204" cy="271735"/>
              <a:chOff x="2889047" y="1597188"/>
              <a:chExt cx="257204" cy="271735"/>
            </a:xfrm>
            <a:solidFill>
              <a:srgbClr val="27509B"/>
            </a:solidFill>
          </p:grpSpPr>
          <p:sp>
            <p:nvSpPr>
              <p:cNvPr id="519" name="Freeform: Shape 518">
                <a:extLst>
                  <a:ext uri="{FF2B5EF4-FFF2-40B4-BE49-F238E27FC236}">
                    <a16:creationId xmlns:a16="http://schemas.microsoft.com/office/drawing/2014/main" id="{41D1B83F-703B-4135-963B-137F2E1AD51F}"/>
                  </a:ext>
                </a:extLst>
              </p:cNvPr>
              <p:cNvSpPr/>
              <p:nvPr/>
            </p:nvSpPr>
            <p:spPr>
              <a:xfrm>
                <a:off x="2889047" y="1599219"/>
                <a:ext cx="257204" cy="269705"/>
              </a:xfrm>
              <a:custGeom>
                <a:avLst/>
                <a:gdLst>
                  <a:gd name="connsiteX0" fmla="*/ 213848 w 257204"/>
                  <a:gd name="connsiteY0" fmla="*/ 28039 h 269705"/>
                  <a:gd name="connsiteX1" fmla="*/ 213102 w 257204"/>
                  <a:gd name="connsiteY1" fmla="*/ 35492 h 269705"/>
                  <a:gd name="connsiteX2" fmla="*/ 202565 w 257204"/>
                  <a:gd name="connsiteY2" fmla="*/ 37301 h 269705"/>
                  <a:gd name="connsiteX3" fmla="*/ 86618 w 257204"/>
                  <a:gd name="connsiteY3" fmla="*/ 25239 h 269705"/>
                  <a:gd name="connsiteX4" fmla="*/ 24973 w 257204"/>
                  <a:gd name="connsiteY4" fmla="*/ 182521 h 269705"/>
                  <a:gd name="connsiteX5" fmla="*/ 181242 w 257204"/>
                  <a:gd name="connsiteY5" fmla="*/ 244555 h 269705"/>
                  <a:gd name="connsiteX6" fmla="*/ 242721 w 257204"/>
                  <a:gd name="connsiteY6" fmla="*/ 182909 h 269705"/>
                  <a:gd name="connsiteX7" fmla="*/ 252677 w 257204"/>
                  <a:gd name="connsiteY7" fmla="*/ 178989 h 269705"/>
                  <a:gd name="connsiteX8" fmla="*/ 256577 w 257204"/>
                  <a:gd name="connsiteY8" fmla="*/ 189026 h 269705"/>
                  <a:gd name="connsiteX9" fmla="*/ 187258 w 257204"/>
                  <a:gd name="connsiteY9" fmla="*/ 258556 h 269705"/>
                  <a:gd name="connsiteX10" fmla="*/ 11076 w 257204"/>
                  <a:gd name="connsiteY10" fmla="*/ 188595 h 269705"/>
                  <a:gd name="connsiteX11" fmla="*/ 80603 w 257204"/>
                  <a:gd name="connsiteY11" fmla="*/ 11281 h 269705"/>
                  <a:gd name="connsiteX12" fmla="*/ 211318 w 257204"/>
                  <a:gd name="connsiteY12" fmla="*/ 24894 h 269705"/>
                  <a:gd name="connsiteX13" fmla="*/ 213848 w 257204"/>
                  <a:gd name="connsiteY13" fmla="*/ 28039 h 269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7204" h="269705">
                    <a:moveTo>
                      <a:pt x="213848" y="28039"/>
                    </a:moveTo>
                    <a:cubicBezTo>
                      <a:pt x="214886" y="30408"/>
                      <a:pt x="214678" y="33209"/>
                      <a:pt x="213102" y="35492"/>
                    </a:cubicBezTo>
                    <a:cubicBezTo>
                      <a:pt x="210696" y="38938"/>
                      <a:pt x="205967" y="39757"/>
                      <a:pt x="202565" y="37301"/>
                    </a:cubicBezTo>
                    <a:cubicBezTo>
                      <a:pt x="168341" y="12961"/>
                      <a:pt x="124990" y="8438"/>
                      <a:pt x="86618" y="25239"/>
                    </a:cubicBezTo>
                    <a:cubicBezTo>
                      <a:pt x="26550" y="51474"/>
                      <a:pt x="-1120" y="122038"/>
                      <a:pt x="24973" y="182521"/>
                    </a:cubicBezTo>
                    <a:cubicBezTo>
                      <a:pt x="51066" y="243004"/>
                      <a:pt x="121174" y="270833"/>
                      <a:pt x="181242" y="244555"/>
                    </a:cubicBezTo>
                    <a:cubicBezTo>
                      <a:pt x="208829" y="232493"/>
                      <a:pt x="230649" y="210609"/>
                      <a:pt x="242721" y="182909"/>
                    </a:cubicBezTo>
                    <a:cubicBezTo>
                      <a:pt x="244380" y="179075"/>
                      <a:pt x="248861" y="177308"/>
                      <a:pt x="252677" y="178989"/>
                    </a:cubicBezTo>
                    <a:cubicBezTo>
                      <a:pt x="256494" y="180669"/>
                      <a:pt x="258236" y="185149"/>
                      <a:pt x="256577" y="189026"/>
                    </a:cubicBezTo>
                    <a:cubicBezTo>
                      <a:pt x="242970" y="220258"/>
                      <a:pt x="218370" y="244943"/>
                      <a:pt x="187258" y="258556"/>
                    </a:cubicBezTo>
                    <a:cubicBezTo>
                      <a:pt x="119515" y="288151"/>
                      <a:pt x="40488" y="256790"/>
                      <a:pt x="11076" y="188595"/>
                    </a:cubicBezTo>
                    <a:cubicBezTo>
                      <a:pt x="-18336" y="120401"/>
                      <a:pt x="12860" y="40877"/>
                      <a:pt x="80603" y="11281"/>
                    </a:cubicBezTo>
                    <a:cubicBezTo>
                      <a:pt x="123870" y="-7631"/>
                      <a:pt x="172738" y="-2547"/>
                      <a:pt x="211318" y="24894"/>
                    </a:cubicBezTo>
                    <a:cubicBezTo>
                      <a:pt x="212438" y="25670"/>
                      <a:pt x="213309" y="26790"/>
                      <a:pt x="213848" y="28039"/>
                    </a:cubicBezTo>
                    <a:close/>
                  </a:path>
                </a:pathLst>
              </a:custGeom>
              <a:solidFill>
                <a:srgbClr val="27509B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0" name="Freeform: Shape 519">
                <a:extLst>
                  <a:ext uri="{FF2B5EF4-FFF2-40B4-BE49-F238E27FC236}">
                    <a16:creationId xmlns:a16="http://schemas.microsoft.com/office/drawing/2014/main" id="{19F5886B-ABE3-4880-BB37-51BE4BBF2C85}"/>
                  </a:ext>
                </a:extLst>
              </p:cNvPr>
              <p:cNvSpPr/>
              <p:nvPr/>
            </p:nvSpPr>
            <p:spPr>
              <a:xfrm>
                <a:off x="3059877" y="1597188"/>
                <a:ext cx="72638" cy="73536"/>
              </a:xfrm>
              <a:custGeom>
                <a:avLst/>
                <a:gdLst>
                  <a:gd name="connsiteX0" fmla="*/ 53970 w 72638"/>
                  <a:gd name="connsiteY0" fmla="*/ 0 h 73536"/>
                  <a:gd name="connsiteX1" fmla="*/ 72638 w 72638"/>
                  <a:gd name="connsiteY1" fmla="*/ 73536 h 73536"/>
                  <a:gd name="connsiteX2" fmla="*/ 0 w 72638"/>
                  <a:gd name="connsiteY2" fmla="*/ 53030 h 73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2638" h="73536">
                    <a:moveTo>
                      <a:pt x="53970" y="0"/>
                    </a:moveTo>
                    <a:lnTo>
                      <a:pt x="72638" y="73536"/>
                    </a:lnTo>
                    <a:lnTo>
                      <a:pt x="0" y="53030"/>
                    </a:lnTo>
                    <a:close/>
                  </a:path>
                </a:pathLst>
              </a:custGeom>
              <a:solidFill>
                <a:srgbClr val="27509B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521" name="Freeform: Shape 520">
              <a:extLst>
                <a:ext uri="{FF2B5EF4-FFF2-40B4-BE49-F238E27FC236}">
                  <a16:creationId xmlns:a16="http://schemas.microsoft.com/office/drawing/2014/main" id="{3F899FA1-FB8D-43F1-BB89-7812391A039A}"/>
                </a:ext>
              </a:extLst>
            </p:cNvPr>
            <p:cNvSpPr/>
            <p:nvPr/>
          </p:nvSpPr>
          <p:spPr>
            <a:xfrm>
              <a:off x="2862411" y="1571681"/>
              <a:ext cx="335112" cy="337276"/>
            </a:xfrm>
            <a:custGeom>
              <a:avLst/>
              <a:gdLst>
                <a:gd name="connsiteX0" fmla="*/ 261061 w 335112"/>
                <a:gd name="connsiteY0" fmla="*/ 28739 h 337276"/>
                <a:gd name="connsiteX1" fmla="*/ 306568 w 335112"/>
                <a:gd name="connsiteY1" fmla="*/ 262745 h 337276"/>
                <a:gd name="connsiteX2" fmla="*/ 74052 w 335112"/>
                <a:gd name="connsiteY2" fmla="*/ 308538 h 337276"/>
                <a:gd name="connsiteX3" fmla="*/ 28544 w 335112"/>
                <a:gd name="connsiteY3" fmla="*/ 74532 h 337276"/>
                <a:gd name="connsiteX4" fmla="*/ 261061 w 335112"/>
                <a:gd name="connsiteY4" fmla="*/ 28739 h 337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5112" h="337276">
                  <a:moveTo>
                    <a:pt x="261061" y="28739"/>
                  </a:moveTo>
                  <a:cubicBezTo>
                    <a:pt x="337847" y="80735"/>
                    <a:pt x="358215" y="185504"/>
                    <a:pt x="306568" y="262745"/>
                  </a:cubicBezTo>
                  <a:cubicBezTo>
                    <a:pt x="254921" y="340029"/>
                    <a:pt x="150838" y="360535"/>
                    <a:pt x="74052" y="308538"/>
                  </a:cubicBezTo>
                  <a:cubicBezTo>
                    <a:pt x="-2734" y="256542"/>
                    <a:pt x="-23103" y="151773"/>
                    <a:pt x="28544" y="74532"/>
                  </a:cubicBezTo>
                  <a:cubicBezTo>
                    <a:pt x="80191" y="-2752"/>
                    <a:pt x="184316" y="-23258"/>
                    <a:pt x="261061" y="28739"/>
                  </a:cubicBezTo>
                  <a:close/>
                </a:path>
              </a:pathLst>
            </a:custGeom>
            <a:noFill/>
            <a:ln w="41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22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2871637" y="1972783"/>
            <a:ext cx="335166" cy="337293"/>
            <a:chOff x="2871637" y="1972783"/>
            <a:chExt cx="335166" cy="337293"/>
          </a:xfrm>
          <a:solidFill>
            <a:schemeClr val="accent1"/>
          </a:solidFill>
        </p:grpSpPr>
        <p:grpSp>
          <p:nvGrpSpPr>
            <p:cNvPr id="523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2896263" y="1990028"/>
              <a:ext cx="267863" cy="288416"/>
              <a:chOff x="2896263" y="1990028"/>
              <a:chExt cx="267863" cy="288416"/>
            </a:xfrm>
            <a:solidFill>
              <a:srgbClr val="27509B"/>
            </a:solidFill>
          </p:grpSpPr>
          <p:sp>
            <p:nvSpPr>
              <p:cNvPr id="524" name="Freeform: Shape 523">
                <a:extLst>
                  <a:ext uri="{FF2B5EF4-FFF2-40B4-BE49-F238E27FC236}">
                    <a16:creationId xmlns:a16="http://schemas.microsoft.com/office/drawing/2014/main" id="{51FA1F5C-CE0F-46E1-BF12-DC0DB9641DD8}"/>
                  </a:ext>
                </a:extLst>
              </p:cNvPr>
              <p:cNvSpPr/>
              <p:nvPr/>
            </p:nvSpPr>
            <p:spPr>
              <a:xfrm>
                <a:off x="2896263" y="2016192"/>
                <a:ext cx="267863" cy="262251"/>
              </a:xfrm>
              <a:custGeom>
                <a:avLst/>
                <a:gdLst>
                  <a:gd name="connsiteX0" fmla="*/ 93050 w 267863"/>
                  <a:gd name="connsiteY0" fmla="*/ 157 h 262251"/>
                  <a:gd name="connsiteX1" fmla="*/ 98650 w 267863"/>
                  <a:gd name="connsiteY1" fmla="*/ 5068 h 262251"/>
                  <a:gd name="connsiteX2" fmla="*/ 94087 w 267863"/>
                  <a:gd name="connsiteY2" fmla="*/ 14804 h 262251"/>
                  <a:gd name="connsiteX3" fmla="*/ 17550 w 267863"/>
                  <a:gd name="connsiteY3" fmla="*/ 103289 h 262251"/>
                  <a:gd name="connsiteX4" fmla="*/ 109892 w 267863"/>
                  <a:gd name="connsiteY4" fmla="*/ 244546 h 262251"/>
                  <a:gd name="connsiteX5" fmla="*/ 250232 w 267863"/>
                  <a:gd name="connsiteY5" fmla="*/ 151624 h 262251"/>
                  <a:gd name="connsiteX6" fmla="*/ 235546 w 267863"/>
                  <a:gd name="connsiteY6" fmla="*/ 65551 h 262251"/>
                  <a:gd name="connsiteX7" fmla="*/ 238118 w 267863"/>
                  <a:gd name="connsiteY7" fmla="*/ 55083 h 262251"/>
                  <a:gd name="connsiteX8" fmla="*/ 248489 w 267863"/>
                  <a:gd name="connsiteY8" fmla="*/ 57625 h 262251"/>
                  <a:gd name="connsiteX9" fmla="*/ 265083 w 267863"/>
                  <a:gd name="connsiteY9" fmla="*/ 154682 h 262251"/>
                  <a:gd name="connsiteX10" fmla="*/ 106864 w 267863"/>
                  <a:gd name="connsiteY10" fmla="*/ 259451 h 262251"/>
                  <a:gd name="connsiteX11" fmla="*/ 2781 w 267863"/>
                  <a:gd name="connsiteY11" fmla="*/ 100187 h 262251"/>
                  <a:gd name="connsiteX12" fmla="*/ 89068 w 267863"/>
                  <a:gd name="connsiteY12" fmla="*/ 416 h 262251"/>
                  <a:gd name="connsiteX13" fmla="*/ 93050 w 267863"/>
                  <a:gd name="connsiteY13" fmla="*/ 157 h 262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7863" h="262251">
                    <a:moveTo>
                      <a:pt x="93050" y="157"/>
                    </a:moveTo>
                    <a:cubicBezTo>
                      <a:pt x="95539" y="674"/>
                      <a:pt x="97737" y="2483"/>
                      <a:pt x="98650" y="5068"/>
                    </a:cubicBezTo>
                    <a:cubicBezTo>
                      <a:pt x="100061" y="9031"/>
                      <a:pt x="97986" y="13383"/>
                      <a:pt x="94087" y="14804"/>
                    </a:cubicBezTo>
                    <a:cubicBezTo>
                      <a:pt x="54636" y="28977"/>
                      <a:pt x="26012" y="62062"/>
                      <a:pt x="17550" y="103289"/>
                    </a:cubicBezTo>
                    <a:cubicBezTo>
                      <a:pt x="4316" y="167865"/>
                      <a:pt x="45717" y="231234"/>
                      <a:pt x="109892" y="244546"/>
                    </a:cubicBezTo>
                    <a:cubicBezTo>
                      <a:pt x="174026" y="257857"/>
                      <a:pt x="236998" y="216199"/>
                      <a:pt x="250232" y="151624"/>
                    </a:cubicBezTo>
                    <a:cubicBezTo>
                      <a:pt x="256330" y="121985"/>
                      <a:pt x="251103" y="91399"/>
                      <a:pt x="235546" y="65551"/>
                    </a:cubicBezTo>
                    <a:cubicBezTo>
                      <a:pt x="233389" y="61976"/>
                      <a:pt x="234509" y="57280"/>
                      <a:pt x="238118" y="55083"/>
                    </a:cubicBezTo>
                    <a:cubicBezTo>
                      <a:pt x="241686" y="52886"/>
                      <a:pt x="246332" y="54049"/>
                      <a:pt x="248489" y="57625"/>
                    </a:cubicBezTo>
                    <a:cubicBezTo>
                      <a:pt x="266037" y="86789"/>
                      <a:pt x="271928" y="121253"/>
                      <a:pt x="265083" y="154682"/>
                    </a:cubicBezTo>
                    <a:cubicBezTo>
                      <a:pt x="250149" y="227486"/>
                      <a:pt x="179170" y="274486"/>
                      <a:pt x="106864" y="259451"/>
                    </a:cubicBezTo>
                    <a:cubicBezTo>
                      <a:pt x="34558" y="244416"/>
                      <a:pt x="-12153" y="172991"/>
                      <a:pt x="2781" y="100187"/>
                    </a:cubicBezTo>
                    <a:cubicBezTo>
                      <a:pt x="12323" y="53662"/>
                      <a:pt x="44555" y="16398"/>
                      <a:pt x="89068" y="416"/>
                    </a:cubicBezTo>
                    <a:cubicBezTo>
                      <a:pt x="90353" y="-58"/>
                      <a:pt x="91764" y="-101"/>
                      <a:pt x="93050" y="157"/>
                    </a:cubicBezTo>
                    <a:close/>
                  </a:path>
                </a:pathLst>
              </a:custGeom>
              <a:solidFill>
                <a:srgbClr val="27509B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5" name="Freeform: Shape 524">
                <a:extLst>
                  <a:ext uri="{FF2B5EF4-FFF2-40B4-BE49-F238E27FC236}">
                    <a16:creationId xmlns:a16="http://schemas.microsoft.com/office/drawing/2014/main" id="{4EFBCFBF-8ECC-4E44-8760-DFEB76551C23}"/>
                  </a:ext>
                </a:extLst>
              </p:cNvPr>
              <p:cNvSpPr/>
              <p:nvPr/>
            </p:nvSpPr>
            <p:spPr>
              <a:xfrm>
                <a:off x="2971143" y="1990028"/>
                <a:ext cx="70522" cy="74957"/>
              </a:xfrm>
              <a:custGeom>
                <a:avLst/>
                <a:gdLst>
                  <a:gd name="connsiteX0" fmla="*/ 0 w 70522"/>
                  <a:gd name="connsiteY0" fmla="*/ 0 h 74957"/>
                  <a:gd name="connsiteX1" fmla="*/ 70522 w 70522"/>
                  <a:gd name="connsiteY1" fmla="*/ 26968 h 74957"/>
                  <a:gd name="connsiteX2" fmla="*/ 12072 w 70522"/>
                  <a:gd name="connsiteY2" fmla="*/ 74958 h 74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522" h="74957">
                    <a:moveTo>
                      <a:pt x="0" y="0"/>
                    </a:moveTo>
                    <a:lnTo>
                      <a:pt x="70522" y="26968"/>
                    </a:lnTo>
                    <a:lnTo>
                      <a:pt x="12072" y="74958"/>
                    </a:lnTo>
                    <a:close/>
                  </a:path>
                </a:pathLst>
              </a:custGeom>
              <a:solidFill>
                <a:srgbClr val="27509B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EEAC582B-DB62-4D1D-960D-1E7805724A82}"/>
                </a:ext>
              </a:extLst>
            </p:cNvPr>
            <p:cNvSpPr/>
            <p:nvPr/>
          </p:nvSpPr>
          <p:spPr>
            <a:xfrm>
              <a:off x="2871637" y="1972783"/>
              <a:ext cx="335166" cy="337293"/>
            </a:xfrm>
            <a:custGeom>
              <a:avLst/>
              <a:gdLst>
                <a:gd name="connsiteX0" fmla="*/ 107720 w 335166"/>
                <a:gd name="connsiteY0" fmla="*/ 11171 h 337293"/>
                <a:gd name="connsiteX1" fmla="*/ 324057 w 335166"/>
                <a:gd name="connsiteY1" fmla="*/ 108400 h 337293"/>
                <a:gd name="connsiteX2" fmla="*/ 227442 w 335166"/>
                <a:gd name="connsiteY2" fmla="*/ 326123 h 337293"/>
                <a:gd name="connsiteX3" fmla="*/ 11104 w 335166"/>
                <a:gd name="connsiteY3" fmla="*/ 228893 h 337293"/>
                <a:gd name="connsiteX4" fmla="*/ 107720 w 335166"/>
                <a:gd name="connsiteY4" fmla="*/ 11171 h 337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5166" h="337293">
                  <a:moveTo>
                    <a:pt x="107720" y="11171"/>
                  </a:moveTo>
                  <a:cubicBezTo>
                    <a:pt x="194130" y="-22087"/>
                    <a:pt x="290995" y="21423"/>
                    <a:pt x="324057" y="108400"/>
                  </a:cubicBezTo>
                  <a:cubicBezTo>
                    <a:pt x="357120" y="195377"/>
                    <a:pt x="313894" y="292865"/>
                    <a:pt x="227442" y="326123"/>
                  </a:cubicBezTo>
                  <a:cubicBezTo>
                    <a:pt x="141031" y="359380"/>
                    <a:pt x="44167" y="315870"/>
                    <a:pt x="11104" y="228893"/>
                  </a:cubicBezTo>
                  <a:cubicBezTo>
                    <a:pt x="-21958" y="141959"/>
                    <a:pt x="21309" y="44471"/>
                    <a:pt x="107720" y="11171"/>
                  </a:cubicBezTo>
                  <a:close/>
                </a:path>
              </a:pathLst>
            </a:custGeom>
            <a:noFill/>
            <a:ln w="41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27" name="Freeform: Shape 526">
            <a:extLst>
              <a:ext uri="{FF2B5EF4-FFF2-40B4-BE49-F238E27FC236}">
                <a16:creationId xmlns:a16="http://schemas.microsoft.com/office/drawing/2014/main" id="{D79F7C99-ADF3-4B49-B6E6-050264F0B035}"/>
              </a:ext>
            </a:extLst>
          </p:cNvPr>
          <p:cNvSpPr/>
          <p:nvPr/>
        </p:nvSpPr>
        <p:spPr>
          <a:xfrm>
            <a:off x="3000430" y="2212187"/>
            <a:ext cx="101386" cy="102054"/>
          </a:xfrm>
          <a:custGeom>
            <a:avLst/>
            <a:gdLst>
              <a:gd name="connsiteX0" fmla="*/ 101386 w 101386"/>
              <a:gd name="connsiteY0" fmla="*/ 55744 h 102054"/>
              <a:gd name="connsiteX1" fmla="*/ 55339 w 101386"/>
              <a:gd name="connsiteY1" fmla="*/ 0 h 102054"/>
              <a:gd name="connsiteX2" fmla="*/ 0 w 101386"/>
              <a:gd name="connsiteY2" fmla="*/ 46353 h 102054"/>
              <a:gd name="connsiteX3" fmla="*/ 46006 w 101386"/>
              <a:gd name="connsiteY3" fmla="*/ 102055 h 102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386" h="102054">
                <a:moveTo>
                  <a:pt x="101386" y="55744"/>
                </a:moveTo>
                <a:lnTo>
                  <a:pt x="55339" y="0"/>
                </a:lnTo>
                <a:lnTo>
                  <a:pt x="0" y="46353"/>
                </a:lnTo>
                <a:lnTo>
                  <a:pt x="46006" y="102055"/>
                </a:lnTo>
                <a:close/>
              </a:path>
            </a:pathLst>
          </a:custGeom>
          <a:solidFill>
            <a:srgbClr val="F9B233"/>
          </a:solidFill>
          <a:ln w="829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8" name="Freeform: Shape 527">
            <a:extLst>
              <a:ext uri="{FF2B5EF4-FFF2-40B4-BE49-F238E27FC236}">
                <a16:creationId xmlns:a16="http://schemas.microsoft.com/office/drawing/2014/main" id="{078D2D37-F44A-47EB-AC3D-526C688725A7}"/>
              </a:ext>
            </a:extLst>
          </p:cNvPr>
          <p:cNvSpPr/>
          <p:nvPr/>
        </p:nvSpPr>
        <p:spPr>
          <a:xfrm>
            <a:off x="2923603" y="1802418"/>
            <a:ext cx="101427" cy="102097"/>
          </a:xfrm>
          <a:custGeom>
            <a:avLst/>
            <a:gdLst>
              <a:gd name="connsiteX0" fmla="*/ 101428 w 101427"/>
              <a:gd name="connsiteY0" fmla="*/ 55744 h 102097"/>
              <a:gd name="connsiteX1" fmla="*/ 55381 w 101427"/>
              <a:gd name="connsiteY1" fmla="*/ 0 h 102097"/>
              <a:gd name="connsiteX2" fmla="*/ 0 w 101427"/>
              <a:gd name="connsiteY2" fmla="*/ 46353 h 102097"/>
              <a:gd name="connsiteX3" fmla="*/ 46047 w 101427"/>
              <a:gd name="connsiteY3" fmla="*/ 102098 h 102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427" h="102097">
                <a:moveTo>
                  <a:pt x="101428" y="55744"/>
                </a:moveTo>
                <a:lnTo>
                  <a:pt x="55381" y="0"/>
                </a:lnTo>
                <a:lnTo>
                  <a:pt x="0" y="46353"/>
                </a:lnTo>
                <a:lnTo>
                  <a:pt x="46047" y="102098"/>
                </a:lnTo>
                <a:close/>
              </a:path>
            </a:pathLst>
          </a:custGeom>
          <a:solidFill>
            <a:srgbClr val="F9B233"/>
          </a:solidFill>
          <a:ln w="829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9" name="Freeform: Shape 528">
            <a:extLst>
              <a:ext uri="{FF2B5EF4-FFF2-40B4-BE49-F238E27FC236}">
                <a16:creationId xmlns:a16="http://schemas.microsoft.com/office/drawing/2014/main" id="{1D0BBD6C-7C13-432A-AB70-940E2D40C7A1}"/>
              </a:ext>
            </a:extLst>
          </p:cNvPr>
          <p:cNvSpPr/>
          <p:nvPr/>
        </p:nvSpPr>
        <p:spPr>
          <a:xfrm>
            <a:off x="3199801" y="1524126"/>
            <a:ext cx="101427" cy="102097"/>
          </a:xfrm>
          <a:custGeom>
            <a:avLst/>
            <a:gdLst>
              <a:gd name="connsiteX0" fmla="*/ 101428 w 101427"/>
              <a:gd name="connsiteY0" fmla="*/ 55744 h 102097"/>
              <a:gd name="connsiteX1" fmla="*/ 55381 w 101427"/>
              <a:gd name="connsiteY1" fmla="*/ 0 h 102097"/>
              <a:gd name="connsiteX2" fmla="*/ 0 w 101427"/>
              <a:gd name="connsiteY2" fmla="*/ 46353 h 102097"/>
              <a:gd name="connsiteX3" fmla="*/ 46047 w 101427"/>
              <a:gd name="connsiteY3" fmla="*/ 102098 h 102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427" h="102097">
                <a:moveTo>
                  <a:pt x="101428" y="55744"/>
                </a:moveTo>
                <a:lnTo>
                  <a:pt x="55381" y="0"/>
                </a:lnTo>
                <a:lnTo>
                  <a:pt x="0" y="46353"/>
                </a:lnTo>
                <a:lnTo>
                  <a:pt x="46047" y="102098"/>
                </a:lnTo>
                <a:close/>
              </a:path>
            </a:pathLst>
          </a:custGeom>
          <a:solidFill>
            <a:srgbClr val="F9B233"/>
          </a:solidFill>
          <a:ln w="829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30" name="Freeform: Shape 529">
            <a:extLst>
              <a:ext uri="{FF2B5EF4-FFF2-40B4-BE49-F238E27FC236}">
                <a16:creationId xmlns:a16="http://schemas.microsoft.com/office/drawing/2014/main" id="{66796E00-8409-44D9-8ABB-B8897C700099}"/>
              </a:ext>
            </a:extLst>
          </p:cNvPr>
          <p:cNvSpPr/>
          <p:nvPr/>
        </p:nvSpPr>
        <p:spPr>
          <a:xfrm>
            <a:off x="2856150" y="2087688"/>
            <a:ext cx="101427" cy="102054"/>
          </a:xfrm>
          <a:custGeom>
            <a:avLst/>
            <a:gdLst>
              <a:gd name="connsiteX0" fmla="*/ 101428 w 101427"/>
              <a:gd name="connsiteY0" fmla="*/ 55701 h 102054"/>
              <a:gd name="connsiteX1" fmla="*/ 55381 w 101427"/>
              <a:gd name="connsiteY1" fmla="*/ 0 h 102054"/>
              <a:gd name="connsiteX2" fmla="*/ 0 w 101427"/>
              <a:gd name="connsiteY2" fmla="*/ 46310 h 102054"/>
              <a:gd name="connsiteX3" fmla="*/ 46047 w 101427"/>
              <a:gd name="connsiteY3" fmla="*/ 102055 h 102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427" h="102054">
                <a:moveTo>
                  <a:pt x="101428" y="55701"/>
                </a:moveTo>
                <a:lnTo>
                  <a:pt x="55381" y="0"/>
                </a:lnTo>
                <a:lnTo>
                  <a:pt x="0" y="46310"/>
                </a:lnTo>
                <a:lnTo>
                  <a:pt x="46047" y="102055"/>
                </a:lnTo>
                <a:close/>
              </a:path>
            </a:pathLst>
          </a:custGeom>
          <a:solidFill>
            <a:srgbClr val="95C11F"/>
          </a:solidFill>
          <a:ln w="829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31" name="Freeform: Shape 530">
            <a:extLst>
              <a:ext uri="{FF2B5EF4-FFF2-40B4-BE49-F238E27FC236}">
                <a16:creationId xmlns:a16="http://schemas.microsoft.com/office/drawing/2014/main" id="{E0C321AA-303F-49C6-A9E4-E682267BC19F}"/>
              </a:ext>
            </a:extLst>
          </p:cNvPr>
          <p:cNvSpPr/>
          <p:nvPr/>
        </p:nvSpPr>
        <p:spPr>
          <a:xfrm>
            <a:off x="2864405" y="1640871"/>
            <a:ext cx="101427" cy="102054"/>
          </a:xfrm>
          <a:custGeom>
            <a:avLst/>
            <a:gdLst>
              <a:gd name="connsiteX0" fmla="*/ 101428 w 101427"/>
              <a:gd name="connsiteY0" fmla="*/ 55701 h 102054"/>
              <a:gd name="connsiteX1" fmla="*/ 55381 w 101427"/>
              <a:gd name="connsiteY1" fmla="*/ 0 h 102054"/>
              <a:gd name="connsiteX2" fmla="*/ 0 w 101427"/>
              <a:gd name="connsiteY2" fmla="*/ 46310 h 102054"/>
              <a:gd name="connsiteX3" fmla="*/ 46047 w 101427"/>
              <a:gd name="connsiteY3" fmla="*/ 102055 h 102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427" h="102054">
                <a:moveTo>
                  <a:pt x="101428" y="55701"/>
                </a:moveTo>
                <a:lnTo>
                  <a:pt x="55381" y="0"/>
                </a:lnTo>
                <a:lnTo>
                  <a:pt x="0" y="46310"/>
                </a:lnTo>
                <a:lnTo>
                  <a:pt x="46047" y="102055"/>
                </a:lnTo>
                <a:close/>
              </a:path>
            </a:pathLst>
          </a:custGeom>
          <a:solidFill>
            <a:srgbClr val="95C11F"/>
          </a:solidFill>
          <a:ln w="829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32" name="Freeform: Shape 531">
            <a:extLst>
              <a:ext uri="{FF2B5EF4-FFF2-40B4-BE49-F238E27FC236}">
                <a16:creationId xmlns:a16="http://schemas.microsoft.com/office/drawing/2014/main" id="{374AEFFC-987A-4798-9AD1-B7EE2C750DA3}"/>
              </a:ext>
            </a:extLst>
          </p:cNvPr>
          <p:cNvSpPr/>
          <p:nvPr/>
        </p:nvSpPr>
        <p:spPr>
          <a:xfrm>
            <a:off x="3151099" y="1670638"/>
            <a:ext cx="101427" cy="102054"/>
          </a:xfrm>
          <a:custGeom>
            <a:avLst/>
            <a:gdLst>
              <a:gd name="connsiteX0" fmla="*/ 101428 w 101427"/>
              <a:gd name="connsiteY0" fmla="*/ 55701 h 102054"/>
              <a:gd name="connsiteX1" fmla="*/ 55381 w 101427"/>
              <a:gd name="connsiteY1" fmla="*/ 0 h 102054"/>
              <a:gd name="connsiteX2" fmla="*/ 0 w 101427"/>
              <a:gd name="connsiteY2" fmla="*/ 46310 h 102054"/>
              <a:gd name="connsiteX3" fmla="*/ 46047 w 101427"/>
              <a:gd name="connsiteY3" fmla="*/ 102055 h 102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427" h="102054">
                <a:moveTo>
                  <a:pt x="101428" y="55701"/>
                </a:moveTo>
                <a:lnTo>
                  <a:pt x="55381" y="0"/>
                </a:lnTo>
                <a:lnTo>
                  <a:pt x="0" y="46310"/>
                </a:lnTo>
                <a:lnTo>
                  <a:pt x="46047" y="102055"/>
                </a:lnTo>
                <a:close/>
              </a:path>
            </a:pathLst>
          </a:custGeom>
          <a:solidFill>
            <a:srgbClr val="95C11F"/>
          </a:solidFill>
          <a:ln w="829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538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5521893" y="1435023"/>
            <a:ext cx="335106" cy="337254"/>
            <a:chOff x="5521893" y="1435023"/>
            <a:chExt cx="335106" cy="337254"/>
          </a:xfrm>
          <a:solidFill>
            <a:schemeClr val="accent1"/>
          </a:solidFill>
        </p:grpSpPr>
        <p:grpSp>
          <p:nvGrpSpPr>
            <p:cNvPr id="539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5555791" y="1459389"/>
              <a:ext cx="296520" cy="269627"/>
              <a:chOff x="5555791" y="1459389"/>
              <a:chExt cx="296520" cy="269627"/>
            </a:xfrm>
            <a:solidFill>
              <a:srgbClr val="27509B"/>
            </a:solidFill>
          </p:grpSpPr>
          <p:sp>
            <p:nvSpPr>
              <p:cNvPr id="540" name="Freeform: Shape 539">
                <a:extLst>
                  <a:ext uri="{FF2B5EF4-FFF2-40B4-BE49-F238E27FC236}">
                    <a16:creationId xmlns:a16="http://schemas.microsoft.com/office/drawing/2014/main" id="{08CAC526-6F90-4C12-928F-6EAC00D17CA5}"/>
                  </a:ext>
                </a:extLst>
              </p:cNvPr>
              <p:cNvSpPr/>
              <p:nvPr/>
            </p:nvSpPr>
            <p:spPr>
              <a:xfrm>
                <a:off x="5555791" y="1459389"/>
                <a:ext cx="267386" cy="269627"/>
              </a:xfrm>
              <a:custGeom>
                <a:avLst/>
                <a:gdLst>
                  <a:gd name="connsiteX0" fmla="*/ 266611 w 267386"/>
                  <a:gd name="connsiteY0" fmla="*/ 127762 h 269627"/>
                  <a:gd name="connsiteX1" fmla="*/ 260471 w 267386"/>
                  <a:gd name="connsiteY1" fmla="*/ 131940 h 269627"/>
                  <a:gd name="connsiteX2" fmla="*/ 252299 w 267386"/>
                  <a:gd name="connsiteY2" fmla="*/ 125005 h 269627"/>
                  <a:gd name="connsiteX3" fmla="*/ 186921 w 267386"/>
                  <a:gd name="connsiteY3" fmla="*/ 27861 h 269627"/>
                  <a:gd name="connsiteX4" fmla="*/ 27582 w 267386"/>
                  <a:gd name="connsiteY4" fmla="*/ 81451 h 269627"/>
                  <a:gd name="connsiteX5" fmla="*/ 80847 w 267386"/>
                  <a:gd name="connsiteY5" fmla="*/ 241792 h 269627"/>
                  <a:gd name="connsiteX6" fmla="*/ 167299 w 267386"/>
                  <a:gd name="connsiteY6" fmla="*/ 249546 h 269627"/>
                  <a:gd name="connsiteX7" fmla="*/ 176674 w 267386"/>
                  <a:gd name="connsiteY7" fmla="*/ 254716 h 269627"/>
                  <a:gd name="connsiteX8" fmla="*/ 171572 w 267386"/>
                  <a:gd name="connsiteY8" fmla="*/ 264150 h 269627"/>
                  <a:gd name="connsiteX9" fmla="*/ 74127 w 267386"/>
                  <a:gd name="connsiteY9" fmla="*/ 255405 h 269627"/>
                  <a:gd name="connsiteX10" fmla="*/ 14058 w 267386"/>
                  <a:gd name="connsiteY10" fmla="*/ 74602 h 269627"/>
                  <a:gd name="connsiteX11" fmla="*/ 193682 w 267386"/>
                  <a:gd name="connsiteY11" fmla="*/ 14162 h 269627"/>
                  <a:gd name="connsiteX12" fmla="*/ 267358 w 267386"/>
                  <a:gd name="connsiteY12" fmla="*/ 123669 h 269627"/>
                  <a:gd name="connsiteX13" fmla="*/ 266611 w 267386"/>
                  <a:gd name="connsiteY13" fmla="*/ 127762 h 269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7386" h="269627">
                    <a:moveTo>
                      <a:pt x="266611" y="127762"/>
                    </a:moveTo>
                    <a:cubicBezTo>
                      <a:pt x="265491" y="130045"/>
                      <a:pt x="263209" y="131725"/>
                      <a:pt x="260471" y="131940"/>
                    </a:cubicBezTo>
                    <a:cubicBezTo>
                      <a:pt x="256323" y="132285"/>
                      <a:pt x="252673" y="129183"/>
                      <a:pt x="252299" y="125005"/>
                    </a:cubicBezTo>
                    <a:cubicBezTo>
                      <a:pt x="248814" y="82959"/>
                      <a:pt x="224380" y="46643"/>
                      <a:pt x="186921" y="27861"/>
                    </a:cubicBezTo>
                    <a:cubicBezTo>
                      <a:pt x="128304" y="-1562"/>
                      <a:pt x="56828" y="22476"/>
                      <a:pt x="27582" y="81451"/>
                    </a:cubicBezTo>
                    <a:cubicBezTo>
                      <a:pt x="-1664" y="140427"/>
                      <a:pt x="22230" y="212369"/>
                      <a:pt x="80847" y="241792"/>
                    </a:cubicBezTo>
                    <a:cubicBezTo>
                      <a:pt x="107770" y="255319"/>
                      <a:pt x="138468" y="258076"/>
                      <a:pt x="167299" y="249546"/>
                    </a:cubicBezTo>
                    <a:cubicBezTo>
                      <a:pt x="171323" y="248383"/>
                      <a:pt x="175513" y="250667"/>
                      <a:pt x="176674" y="254716"/>
                    </a:cubicBezTo>
                    <a:cubicBezTo>
                      <a:pt x="177836" y="258765"/>
                      <a:pt x="175554" y="262987"/>
                      <a:pt x="171572" y="264150"/>
                    </a:cubicBezTo>
                    <a:cubicBezTo>
                      <a:pt x="139049" y="273757"/>
                      <a:pt x="104451" y="270655"/>
                      <a:pt x="74127" y="255405"/>
                    </a:cubicBezTo>
                    <a:cubicBezTo>
                      <a:pt x="8043" y="222234"/>
                      <a:pt x="-18880" y="141116"/>
                      <a:pt x="14058" y="74602"/>
                    </a:cubicBezTo>
                    <a:cubicBezTo>
                      <a:pt x="47038" y="8088"/>
                      <a:pt x="127599" y="-19009"/>
                      <a:pt x="193682" y="14162"/>
                    </a:cubicBezTo>
                    <a:cubicBezTo>
                      <a:pt x="235913" y="35357"/>
                      <a:pt x="263458" y="76282"/>
                      <a:pt x="267358" y="123669"/>
                    </a:cubicBezTo>
                    <a:cubicBezTo>
                      <a:pt x="267482" y="125177"/>
                      <a:pt x="267192" y="126555"/>
                      <a:pt x="266611" y="127762"/>
                    </a:cubicBezTo>
                    <a:close/>
                  </a:path>
                </a:pathLst>
              </a:custGeom>
              <a:solidFill>
                <a:srgbClr val="27509B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1" name="Freeform: Shape 540">
                <a:extLst>
                  <a:ext uri="{FF2B5EF4-FFF2-40B4-BE49-F238E27FC236}">
                    <a16:creationId xmlns:a16="http://schemas.microsoft.com/office/drawing/2014/main" id="{F6FDF1B3-0928-47D6-BAA0-5EBE34E7F632}"/>
                  </a:ext>
                </a:extLst>
              </p:cNvPr>
              <p:cNvSpPr/>
              <p:nvPr/>
            </p:nvSpPr>
            <p:spPr>
              <a:xfrm>
                <a:off x="5777267" y="1568756"/>
                <a:ext cx="75043" cy="69142"/>
              </a:xfrm>
              <a:custGeom>
                <a:avLst/>
                <a:gdLst>
                  <a:gd name="connsiteX0" fmla="*/ 75044 w 75043"/>
                  <a:gd name="connsiteY0" fmla="*/ 7496 h 69142"/>
                  <a:gd name="connsiteX1" fmla="*/ 31113 w 75043"/>
                  <a:gd name="connsiteY1" fmla="*/ 69142 h 69142"/>
                  <a:gd name="connsiteX2" fmla="*/ 0 w 75043"/>
                  <a:gd name="connsiteY2" fmla="*/ 0 h 69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5043" h="69142">
                    <a:moveTo>
                      <a:pt x="75044" y="7496"/>
                    </a:moveTo>
                    <a:lnTo>
                      <a:pt x="31113" y="691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7509B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542" name="Freeform: Shape 541">
              <a:extLst>
                <a:ext uri="{FF2B5EF4-FFF2-40B4-BE49-F238E27FC236}">
                  <a16:creationId xmlns:a16="http://schemas.microsoft.com/office/drawing/2014/main" id="{D58DB633-4C0F-45DD-BF51-4421501BDBD5}"/>
                </a:ext>
              </a:extLst>
            </p:cNvPr>
            <p:cNvSpPr/>
            <p:nvPr/>
          </p:nvSpPr>
          <p:spPr>
            <a:xfrm>
              <a:off x="5521893" y="1435023"/>
              <a:ext cx="335106" cy="337254"/>
            </a:xfrm>
            <a:custGeom>
              <a:avLst/>
              <a:gdLst>
                <a:gd name="connsiteX0" fmla="*/ 334152 w 335106"/>
                <a:gd name="connsiteY0" fmla="*/ 150750 h 337254"/>
                <a:gd name="connsiteX1" fmla="*/ 185308 w 335106"/>
                <a:gd name="connsiteY1" fmla="*/ 336292 h 337254"/>
                <a:gd name="connsiteX2" fmla="*/ 955 w 335106"/>
                <a:gd name="connsiteY2" fmla="*/ 186505 h 337254"/>
                <a:gd name="connsiteX3" fmla="*/ 149798 w 335106"/>
                <a:gd name="connsiteY3" fmla="*/ 963 h 337254"/>
                <a:gd name="connsiteX4" fmla="*/ 334152 w 335106"/>
                <a:gd name="connsiteY4" fmla="*/ 150750 h 337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5106" h="337254">
                  <a:moveTo>
                    <a:pt x="334152" y="150750"/>
                  </a:moveTo>
                  <a:cubicBezTo>
                    <a:pt x="343942" y="243370"/>
                    <a:pt x="277319" y="326427"/>
                    <a:pt x="185308" y="336292"/>
                  </a:cubicBezTo>
                  <a:cubicBezTo>
                    <a:pt x="93297" y="346157"/>
                    <a:pt x="10786" y="279083"/>
                    <a:pt x="955" y="186505"/>
                  </a:cubicBezTo>
                  <a:cubicBezTo>
                    <a:pt x="-8835" y="93928"/>
                    <a:pt x="57788" y="10828"/>
                    <a:pt x="149798" y="963"/>
                  </a:cubicBezTo>
                  <a:cubicBezTo>
                    <a:pt x="241851" y="-8902"/>
                    <a:pt x="324362" y="58129"/>
                    <a:pt x="334152" y="150750"/>
                  </a:cubicBezTo>
                  <a:close/>
                </a:path>
              </a:pathLst>
            </a:custGeom>
            <a:noFill/>
            <a:ln w="41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43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5412817" y="1711648"/>
            <a:ext cx="488961" cy="556283"/>
            <a:chOff x="5412817" y="1711648"/>
            <a:chExt cx="488961" cy="556283"/>
          </a:xfrm>
          <a:solidFill>
            <a:schemeClr val="accent1"/>
          </a:solidFill>
        </p:grpSpPr>
        <p:sp>
          <p:nvSpPr>
            <p:cNvPr id="544" name="Freeform: Shape 543">
              <a:extLst>
                <a:ext uri="{FF2B5EF4-FFF2-40B4-BE49-F238E27FC236}">
                  <a16:creationId xmlns:a16="http://schemas.microsoft.com/office/drawing/2014/main" id="{40C74E68-73B0-48CA-8BC3-2F18322FEB6F}"/>
                </a:ext>
              </a:extLst>
            </p:cNvPr>
            <p:cNvSpPr/>
            <p:nvPr/>
          </p:nvSpPr>
          <p:spPr>
            <a:xfrm>
              <a:off x="5412817" y="1711648"/>
              <a:ext cx="488961" cy="477621"/>
            </a:xfrm>
            <a:custGeom>
              <a:avLst/>
              <a:gdLst>
                <a:gd name="connsiteX0" fmla="*/ 161761 w 488961"/>
                <a:gd name="connsiteY0" fmla="*/ 477621 h 477621"/>
                <a:gd name="connsiteX1" fmla="*/ 3044 w 488961"/>
                <a:gd name="connsiteY1" fmla="*/ 284540 h 477621"/>
                <a:gd name="connsiteX2" fmla="*/ 206231 w 488961"/>
                <a:gd name="connsiteY2" fmla="*/ 3061 h 477621"/>
                <a:gd name="connsiteX3" fmla="*/ 485914 w 488961"/>
                <a:gd name="connsiteY3" fmla="*/ 207601 h 477621"/>
                <a:gd name="connsiteX4" fmla="*/ 418794 w 488961"/>
                <a:gd name="connsiteY4" fmla="*/ 418560 h 477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8961" h="477621">
                  <a:moveTo>
                    <a:pt x="161761" y="477621"/>
                  </a:moveTo>
                  <a:cubicBezTo>
                    <a:pt x="80619" y="448198"/>
                    <a:pt x="17481" y="376342"/>
                    <a:pt x="3044" y="284540"/>
                  </a:cubicBezTo>
                  <a:cubicBezTo>
                    <a:pt x="-18071" y="150349"/>
                    <a:pt x="72903" y="24299"/>
                    <a:pt x="206231" y="3061"/>
                  </a:cubicBezTo>
                  <a:cubicBezTo>
                    <a:pt x="339560" y="-18177"/>
                    <a:pt x="464799" y="73366"/>
                    <a:pt x="485914" y="207601"/>
                  </a:cubicBezTo>
                  <a:cubicBezTo>
                    <a:pt x="498526" y="287685"/>
                    <a:pt x="471188" y="364840"/>
                    <a:pt x="418794" y="418560"/>
                  </a:cubicBezTo>
                </a:path>
              </a:pathLst>
            </a:custGeom>
            <a:noFill/>
            <a:ln w="70483" cap="rnd">
              <a:solidFill>
                <a:srgbClr val="2750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5" name="Freeform: Shape 544">
              <a:extLst>
                <a:ext uri="{FF2B5EF4-FFF2-40B4-BE49-F238E27FC236}">
                  <a16:creationId xmlns:a16="http://schemas.microsoft.com/office/drawing/2014/main" id="{D080D9B4-25F1-4E26-86E4-1C867A2CD244}"/>
                </a:ext>
              </a:extLst>
            </p:cNvPr>
            <p:cNvSpPr/>
            <p:nvPr/>
          </p:nvSpPr>
          <p:spPr>
            <a:xfrm>
              <a:off x="5539690" y="2094150"/>
              <a:ext cx="155812" cy="173781"/>
            </a:xfrm>
            <a:custGeom>
              <a:avLst/>
              <a:gdLst>
                <a:gd name="connsiteX0" fmla="*/ 21820 w 155812"/>
                <a:gd name="connsiteY0" fmla="*/ 0 h 173781"/>
                <a:gd name="connsiteX1" fmla="*/ 155813 w 155812"/>
                <a:gd name="connsiteY1" fmla="*/ 106535 h 173781"/>
                <a:gd name="connsiteX2" fmla="*/ 0 w 155812"/>
                <a:gd name="connsiteY2" fmla="*/ 173782 h 17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5812" h="173781">
                  <a:moveTo>
                    <a:pt x="21820" y="0"/>
                  </a:moveTo>
                  <a:lnTo>
                    <a:pt x="155813" y="106535"/>
                  </a:lnTo>
                  <a:lnTo>
                    <a:pt x="0" y="173782"/>
                  </a:lnTo>
                  <a:close/>
                </a:path>
              </a:pathLst>
            </a:custGeom>
            <a:solidFill>
              <a:srgbClr val="27509B"/>
            </a:solidFill>
            <a:ln w="41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46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5183507" y="1590765"/>
            <a:ext cx="335112" cy="337276"/>
            <a:chOff x="5183507" y="1590765"/>
            <a:chExt cx="335112" cy="337276"/>
          </a:xfrm>
          <a:solidFill>
            <a:schemeClr val="accent1"/>
          </a:solidFill>
        </p:grpSpPr>
        <p:grpSp>
          <p:nvGrpSpPr>
            <p:cNvPr id="547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5210144" y="1616229"/>
              <a:ext cx="257204" cy="271778"/>
              <a:chOff x="5210144" y="1616229"/>
              <a:chExt cx="257204" cy="271778"/>
            </a:xfrm>
            <a:solidFill>
              <a:srgbClr val="27509B"/>
            </a:solidFill>
          </p:grpSpPr>
          <p:sp>
            <p:nvSpPr>
              <p:cNvPr id="548" name="Freeform: Shape 547">
                <a:extLst>
                  <a:ext uri="{FF2B5EF4-FFF2-40B4-BE49-F238E27FC236}">
                    <a16:creationId xmlns:a16="http://schemas.microsoft.com/office/drawing/2014/main" id="{91D828EE-3A8C-42FB-A012-66470E34C472}"/>
                  </a:ext>
                </a:extLst>
              </p:cNvPr>
              <p:cNvSpPr/>
              <p:nvPr/>
            </p:nvSpPr>
            <p:spPr>
              <a:xfrm>
                <a:off x="5210144" y="1618303"/>
                <a:ext cx="257204" cy="269705"/>
              </a:xfrm>
              <a:custGeom>
                <a:avLst/>
                <a:gdLst>
                  <a:gd name="connsiteX0" fmla="*/ 213848 w 257204"/>
                  <a:gd name="connsiteY0" fmla="*/ 28039 h 269705"/>
                  <a:gd name="connsiteX1" fmla="*/ 213102 w 257204"/>
                  <a:gd name="connsiteY1" fmla="*/ 35492 h 269705"/>
                  <a:gd name="connsiteX2" fmla="*/ 202565 w 257204"/>
                  <a:gd name="connsiteY2" fmla="*/ 37301 h 269705"/>
                  <a:gd name="connsiteX3" fmla="*/ 86618 w 257204"/>
                  <a:gd name="connsiteY3" fmla="*/ 25239 h 269705"/>
                  <a:gd name="connsiteX4" fmla="*/ 24973 w 257204"/>
                  <a:gd name="connsiteY4" fmla="*/ 182521 h 269705"/>
                  <a:gd name="connsiteX5" fmla="*/ 181242 w 257204"/>
                  <a:gd name="connsiteY5" fmla="*/ 244555 h 269705"/>
                  <a:gd name="connsiteX6" fmla="*/ 242721 w 257204"/>
                  <a:gd name="connsiteY6" fmla="*/ 182909 h 269705"/>
                  <a:gd name="connsiteX7" fmla="*/ 252677 w 257204"/>
                  <a:gd name="connsiteY7" fmla="*/ 178989 h 269705"/>
                  <a:gd name="connsiteX8" fmla="*/ 256577 w 257204"/>
                  <a:gd name="connsiteY8" fmla="*/ 189026 h 269705"/>
                  <a:gd name="connsiteX9" fmla="*/ 187257 w 257204"/>
                  <a:gd name="connsiteY9" fmla="*/ 258556 h 269705"/>
                  <a:gd name="connsiteX10" fmla="*/ 11076 w 257204"/>
                  <a:gd name="connsiteY10" fmla="*/ 188595 h 269705"/>
                  <a:gd name="connsiteX11" fmla="*/ 80603 w 257204"/>
                  <a:gd name="connsiteY11" fmla="*/ 11281 h 269705"/>
                  <a:gd name="connsiteX12" fmla="*/ 211318 w 257204"/>
                  <a:gd name="connsiteY12" fmla="*/ 24894 h 269705"/>
                  <a:gd name="connsiteX13" fmla="*/ 213848 w 257204"/>
                  <a:gd name="connsiteY13" fmla="*/ 28039 h 269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7204" h="269705">
                    <a:moveTo>
                      <a:pt x="213848" y="28039"/>
                    </a:moveTo>
                    <a:cubicBezTo>
                      <a:pt x="214886" y="30408"/>
                      <a:pt x="214678" y="33209"/>
                      <a:pt x="213102" y="35492"/>
                    </a:cubicBezTo>
                    <a:cubicBezTo>
                      <a:pt x="210696" y="38938"/>
                      <a:pt x="205966" y="39757"/>
                      <a:pt x="202565" y="37301"/>
                    </a:cubicBezTo>
                    <a:cubicBezTo>
                      <a:pt x="168341" y="12961"/>
                      <a:pt x="124990" y="8438"/>
                      <a:pt x="86618" y="25239"/>
                    </a:cubicBezTo>
                    <a:cubicBezTo>
                      <a:pt x="26549" y="51474"/>
                      <a:pt x="-1120" y="122038"/>
                      <a:pt x="24973" y="182521"/>
                    </a:cubicBezTo>
                    <a:cubicBezTo>
                      <a:pt x="51066" y="243004"/>
                      <a:pt x="121174" y="270833"/>
                      <a:pt x="181242" y="244555"/>
                    </a:cubicBezTo>
                    <a:cubicBezTo>
                      <a:pt x="208829" y="232493"/>
                      <a:pt x="230650" y="210609"/>
                      <a:pt x="242721" y="182909"/>
                    </a:cubicBezTo>
                    <a:cubicBezTo>
                      <a:pt x="244380" y="179075"/>
                      <a:pt x="248860" y="177308"/>
                      <a:pt x="252677" y="178989"/>
                    </a:cubicBezTo>
                    <a:cubicBezTo>
                      <a:pt x="256494" y="180669"/>
                      <a:pt x="258236" y="185149"/>
                      <a:pt x="256577" y="189026"/>
                    </a:cubicBezTo>
                    <a:cubicBezTo>
                      <a:pt x="242970" y="220258"/>
                      <a:pt x="218370" y="244943"/>
                      <a:pt x="187257" y="258556"/>
                    </a:cubicBezTo>
                    <a:cubicBezTo>
                      <a:pt x="119515" y="288151"/>
                      <a:pt x="40488" y="256790"/>
                      <a:pt x="11076" y="188595"/>
                    </a:cubicBezTo>
                    <a:cubicBezTo>
                      <a:pt x="-18336" y="120401"/>
                      <a:pt x="12860" y="40877"/>
                      <a:pt x="80603" y="11281"/>
                    </a:cubicBezTo>
                    <a:cubicBezTo>
                      <a:pt x="123870" y="-7631"/>
                      <a:pt x="172738" y="-2547"/>
                      <a:pt x="211318" y="24894"/>
                    </a:cubicBezTo>
                    <a:cubicBezTo>
                      <a:pt x="212438" y="25670"/>
                      <a:pt x="213351" y="26790"/>
                      <a:pt x="213848" y="28039"/>
                    </a:cubicBezTo>
                    <a:close/>
                  </a:path>
                </a:pathLst>
              </a:custGeom>
              <a:solidFill>
                <a:srgbClr val="27509B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9" name="Freeform: Shape 548">
                <a:extLst>
                  <a:ext uri="{FF2B5EF4-FFF2-40B4-BE49-F238E27FC236}">
                    <a16:creationId xmlns:a16="http://schemas.microsoft.com/office/drawing/2014/main" id="{33A7DFCD-B223-4F82-B33C-D6A6285D5345}"/>
                  </a:ext>
                </a:extLst>
              </p:cNvPr>
              <p:cNvSpPr/>
              <p:nvPr/>
            </p:nvSpPr>
            <p:spPr>
              <a:xfrm>
                <a:off x="5380973" y="1616229"/>
                <a:ext cx="72638" cy="73579"/>
              </a:xfrm>
              <a:custGeom>
                <a:avLst/>
                <a:gdLst>
                  <a:gd name="connsiteX0" fmla="*/ 53970 w 72638"/>
                  <a:gd name="connsiteY0" fmla="*/ 0 h 73579"/>
                  <a:gd name="connsiteX1" fmla="*/ 72638 w 72638"/>
                  <a:gd name="connsiteY1" fmla="*/ 73579 h 73579"/>
                  <a:gd name="connsiteX2" fmla="*/ 0 w 72638"/>
                  <a:gd name="connsiteY2" fmla="*/ 53074 h 73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2638" h="73579">
                    <a:moveTo>
                      <a:pt x="53970" y="0"/>
                    </a:moveTo>
                    <a:lnTo>
                      <a:pt x="72638" y="73579"/>
                    </a:lnTo>
                    <a:lnTo>
                      <a:pt x="0" y="53074"/>
                    </a:lnTo>
                    <a:close/>
                  </a:path>
                </a:pathLst>
              </a:custGeom>
              <a:solidFill>
                <a:srgbClr val="27509B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B3FB7691-B088-4D15-961B-7CA89FCCC69C}"/>
                </a:ext>
              </a:extLst>
            </p:cNvPr>
            <p:cNvSpPr/>
            <p:nvPr/>
          </p:nvSpPr>
          <p:spPr>
            <a:xfrm>
              <a:off x="5183507" y="1590765"/>
              <a:ext cx="335112" cy="337276"/>
            </a:xfrm>
            <a:custGeom>
              <a:avLst/>
              <a:gdLst>
                <a:gd name="connsiteX0" fmla="*/ 261060 w 335112"/>
                <a:gd name="connsiteY0" fmla="*/ 28739 h 337276"/>
                <a:gd name="connsiteX1" fmla="*/ 306568 w 335112"/>
                <a:gd name="connsiteY1" fmla="*/ 262745 h 337276"/>
                <a:gd name="connsiteX2" fmla="*/ 74052 w 335112"/>
                <a:gd name="connsiteY2" fmla="*/ 308538 h 337276"/>
                <a:gd name="connsiteX3" fmla="*/ 28545 w 335112"/>
                <a:gd name="connsiteY3" fmla="*/ 74532 h 337276"/>
                <a:gd name="connsiteX4" fmla="*/ 261060 w 335112"/>
                <a:gd name="connsiteY4" fmla="*/ 28739 h 337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5112" h="337276">
                  <a:moveTo>
                    <a:pt x="261060" y="28739"/>
                  </a:moveTo>
                  <a:cubicBezTo>
                    <a:pt x="337847" y="80735"/>
                    <a:pt x="358216" y="185504"/>
                    <a:pt x="306568" y="262745"/>
                  </a:cubicBezTo>
                  <a:cubicBezTo>
                    <a:pt x="254921" y="340029"/>
                    <a:pt x="150838" y="360535"/>
                    <a:pt x="74052" y="308538"/>
                  </a:cubicBezTo>
                  <a:cubicBezTo>
                    <a:pt x="-2734" y="256542"/>
                    <a:pt x="-23103" y="151773"/>
                    <a:pt x="28545" y="74532"/>
                  </a:cubicBezTo>
                  <a:cubicBezTo>
                    <a:pt x="80233" y="-2752"/>
                    <a:pt x="184316" y="-23258"/>
                    <a:pt x="261060" y="28739"/>
                  </a:cubicBezTo>
                  <a:close/>
                </a:path>
              </a:pathLst>
            </a:custGeom>
            <a:noFill/>
            <a:ln w="41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51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5192751" y="1991867"/>
            <a:ext cx="335149" cy="337293"/>
            <a:chOff x="5192751" y="1991867"/>
            <a:chExt cx="335149" cy="337293"/>
          </a:xfrm>
          <a:solidFill>
            <a:schemeClr val="accent1"/>
          </a:solidFill>
        </p:grpSpPr>
        <p:grpSp>
          <p:nvGrpSpPr>
            <p:cNvPr id="552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5217401" y="2009112"/>
              <a:ext cx="267863" cy="288416"/>
              <a:chOff x="5217401" y="2009112"/>
              <a:chExt cx="267863" cy="288416"/>
            </a:xfrm>
            <a:solidFill>
              <a:srgbClr val="27509B"/>
            </a:solidFill>
          </p:grpSpPr>
          <p:sp>
            <p:nvSpPr>
              <p:cNvPr id="553" name="Freeform: Shape 552">
                <a:extLst>
                  <a:ext uri="{FF2B5EF4-FFF2-40B4-BE49-F238E27FC236}">
                    <a16:creationId xmlns:a16="http://schemas.microsoft.com/office/drawing/2014/main" id="{6BF4A0A9-D08D-4216-B253-5288207CB043}"/>
                  </a:ext>
                </a:extLst>
              </p:cNvPr>
              <p:cNvSpPr/>
              <p:nvPr/>
            </p:nvSpPr>
            <p:spPr>
              <a:xfrm>
                <a:off x="5217401" y="2035257"/>
                <a:ext cx="267863" cy="262270"/>
              </a:xfrm>
              <a:custGeom>
                <a:avLst/>
                <a:gdLst>
                  <a:gd name="connsiteX0" fmla="*/ 93050 w 267863"/>
                  <a:gd name="connsiteY0" fmla="*/ 176 h 262270"/>
                  <a:gd name="connsiteX1" fmla="*/ 98650 w 267863"/>
                  <a:gd name="connsiteY1" fmla="*/ 5087 h 262270"/>
                  <a:gd name="connsiteX2" fmla="*/ 94087 w 267863"/>
                  <a:gd name="connsiteY2" fmla="*/ 14823 h 262270"/>
                  <a:gd name="connsiteX3" fmla="*/ 17550 w 267863"/>
                  <a:gd name="connsiteY3" fmla="*/ 103308 h 262270"/>
                  <a:gd name="connsiteX4" fmla="*/ 109892 w 267863"/>
                  <a:gd name="connsiteY4" fmla="*/ 244564 h 262270"/>
                  <a:gd name="connsiteX5" fmla="*/ 250232 w 267863"/>
                  <a:gd name="connsiteY5" fmla="*/ 151642 h 262270"/>
                  <a:gd name="connsiteX6" fmla="*/ 235546 w 267863"/>
                  <a:gd name="connsiteY6" fmla="*/ 65570 h 262270"/>
                  <a:gd name="connsiteX7" fmla="*/ 238118 w 267863"/>
                  <a:gd name="connsiteY7" fmla="*/ 55102 h 262270"/>
                  <a:gd name="connsiteX8" fmla="*/ 248489 w 267863"/>
                  <a:gd name="connsiteY8" fmla="*/ 57644 h 262270"/>
                  <a:gd name="connsiteX9" fmla="*/ 265083 w 267863"/>
                  <a:gd name="connsiteY9" fmla="*/ 154701 h 262270"/>
                  <a:gd name="connsiteX10" fmla="*/ 106864 w 267863"/>
                  <a:gd name="connsiteY10" fmla="*/ 259470 h 262270"/>
                  <a:gd name="connsiteX11" fmla="*/ 2781 w 267863"/>
                  <a:gd name="connsiteY11" fmla="*/ 100206 h 262270"/>
                  <a:gd name="connsiteX12" fmla="*/ 89068 w 267863"/>
                  <a:gd name="connsiteY12" fmla="*/ 434 h 262270"/>
                  <a:gd name="connsiteX13" fmla="*/ 93050 w 267863"/>
                  <a:gd name="connsiteY13" fmla="*/ 176 h 262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7863" h="262270">
                    <a:moveTo>
                      <a:pt x="93050" y="176"/>
                    </a:moveTo>
                    <a:cubicBezTo>
                      <a:pt x="95539" y="693"/>
                      <a:pt x="97737" y="2502"/>
                      <a:pt x="98650" y="5087"/>
                    </a:cubicBezTo>
                    <a:cubicBezTo>
                      <a:pt x="100060" y="9050"/>
                      <a:pt x="97986" y="13401"/>
                      <a:pt x="94087" y="14823"/>
                    </a:cubicBezTo>
                    <a:cubicBezTo>
                      <a:pt x="54636" y="28996"/>
                      <a:pt x="26012" y="62081"/>
                      <a:pt x="17550" y="103308"/>
                    </a:cubicBezTo>
                    <a:cubicBezTo>
                      <a:pt x="4316" y="167883"/>
                      <a:pt x="45717" y="231253"/>
                      <a:pt x="109892" y="244564"/>
                    </a:cubicBezTo>
                    <a:cubicBezTo>
                      <a:pt x="174026" y="257876"/>
                      <a:pt x="236998" y="216218"/>
                      <a:pt x="250232" y="151642"/>
                    </a:cubicBezTo>
                    <a:cubicBezTo>
                      <a:pt x="256330" y="122004"/>
                      <a:pt x="251103" y="91418"/>
                      <a:pt x="235546" y="65570"/>
                    </a:cubicBezTo>
                    <a:cubicBezTo>
                      <a:pt x="233389" y="61995"/>
                      <a:pt x="234509" y="57299"/>
                      <a:pt x="238118" y="55102"/>
                    </a:cubicBezTo>
                    <a:cubicBezTo>
                      <a:pt x="241686" y="52905"/>
                      <a:pt x="246332" y="54068"/>
                      <a:pt x="248489" y="57644"/>
                    </a:cubicBezTo>
                    <a:cubicBezTo>
                      <a:pt x="266037" y="86808"/>
                      <a:pt x="271928" y="121272"/>
                      <a:pt x="265083" y="154701"/>
                    </a:cubicBezTo>
                    <a:cubicBezTo>
                      <a:pt x="250149" y="227505"/>
                      <a:pt x="179170" y="274504"/>
                      <a:pt x="106864" y="259470"/>
                    </a:cubicBezTo>
                    <a:cubicBezTo>
                      <a:pt x="34558" y="244435"/>
                      <a:pt x="-12153" y="173010"/>
                      <a:pt x="2781" y="100206"/>
                    </a:cubicBezTo>
                    <a:cubicBezTo>
                      <a:pt x="12323" y="53680"/>
                      <a:pt x="44555" y="16417"/>
                      <a:pt x="89068" y="434"/>
                    </a:cubicBezTo>
                    <a:cubicBezTo>
                      <a:pt x="90312" y="-39"/>
                      <a:pt x="91722" y="-126"/>
                      <a:pt x="93050" y="176"/>
                    </a:cubicBezTo>
                    <a:close/>
                  </a:path>
                </a:pathLst>
              </a:custGeom>
              <a:solidFill>
                <a:srgbClr val="27509B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4" name="Freeform: Shape 553">
                <a:extLst>
                  <a:ext uri="{FF2B5EF4-FFF2-40B4-BE49-F238E27FC236}">
                    <a16:creationId xmlns:a16="http://schemas.microsoft.com/office/drawing/2014/main" id="{28F70B4F-9456-4677-8B5C-1FA1ADDED6BC}"/>
                  </a:ext>
                </a:extLst>
              </p:cNvPr>
              <p:cNvSpPr/>
              <p:nvPr/>
            </p:nvSpPr>
            <p:spPr>
              <a:xfrm>
                <a:off x="5292281" y="2009112"/>
                <a:ext cx="70522" cy="74957"/>
              </a:xfrm>
              <a:custGeom>
                <a:avLst/>
                <a:gdLst>
                  <a:gd name="connsiteX0" fmla="*/ 0 w 70522"/>
                  <a:gd name="connsiteY0" fmla="*/ 0 h 74957"/>
                  <a:gd name="connsiteX1" fmla="*/ 70522 w 70522"/>
                  <a:gd name="connsiteY1" fmla="*/ 26968 h 74957"/>
                  <a:gd name="connsiteX2" fmla="*/ 12072 w 70522"/>
                  <a:gd name="connsiteY2" fmla="*/ 74958 h 74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522" h="74957">
                    <a:moveTo>
                      <a:pt x="0" y="0"/>
                    </a:moveTo>
                    <a:lnTo>
                      <a:pt x="70522" y="26968"/>
                    </a:lnTo>
                    <a:lnTo>
                      <a:pt x="12072" y="74958"/>
                    </a:lnTo>
                    <a:close/>
                  </a:path>
                </a:pathLst>
              </a:custGeom>
              <a:solidFill>
                <a:srgbClr val="27509B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A591795A-BE97-475A-9688-7294520AEAF9}"/>
                </a:ext>
              </a:extLst>
            </p:cNvPr>
            <p:cNvSpPr/>
            <p:nvPr/>
          </p:nvSpPr>
          <p:spPr>
            <a:xfrm>
              <a:off x="5192751" y="1991867"/>
              <a:ext cx="335149" cy="337293"/>
            </a:xfrm>
            <a:custGeom>
              <a:avLst/>
              <a:gdLst>
                <a:gd name="connsiteX0" fmla="*/ 107703 w 335149"/>
                <a:gd name="connsiteY0" fmla="*/ 11171 h 337293"/>
                <a:gd name="connsiteX1" fmla="*/ 324040 w 335149"/>
                <a:gd name="connsiteY1" fmla="*/ 108400 h 337293"/>
                <a:gd name="connsiteX2" fmla="*/ 227425 w 335149"/>
                <a:gd name="connsiteY2" fmla="*/ 326123 h 337293"/>
                <a:gd name="connsiteX3" fmla="*/ 11088 w 335149"/>
                <a:gd name="connsiteY3" fmla="*/ 228893 h 337293"/>
                <a:gd name="connsiteX4" fmla="*/ 107703 w 335149"/>
                <a:gd name="connsiteY4" fmla="*/ 11171 h 337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5149" h="337293">
                  <a:moveTo>
                    <a:pt x="107703" y="11171"/>
                  </a:moveTo>
                  <a:cubicBezTo>
                    <a:pt x="194114" y="-22087"/>
                    <a:pt x="290978" y="21423"/>
                    <a:pt x="324040" y="108400"/>
                  </a:cubicBezTo>
                  <a:cubicBezTo>
                    <a:pt x="357103" y="195377"/>
                    <a:pt x="313877" y="292865"/>
                    <a:pt x="227425" y="326123"/>
                  </a:cubicBezTo>
                  <a:cubicBezTo>
                    <a:pt x="141014" y="359380"/>
                    <a:pt x="44150" y="315870"/>
                    <a:pt x="11088" y="228893"/>
                  </a:cubicBezTo>
                  <a:cubicBezTo>
                    <a:pt x="-21934" y="141916"/>
                    <a:pt x="21292" y="44428"/>
                    <a:pt x="107703" y="11171"/>
                  </a:cubicBezTo>
                  <a:close/>
                </a:path>
              </a:pathLst>
            </a:custGeom>
            <a:noFill/>
            <a:ln w="41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6" name="Freeform: Shape 555">
            <a:extLst>
              <a:ext uri="{FF2B5EF4-FFF2-40B4-BE49-F238E27FC236}">
                <a16:creationId xmlns:a16="http://schemas.microsoft.com/office/drawing/2014/main" id="{BC201BB1-9137-49A3-B459-8A1A164E820E}"/>
              </a:ext>
            </a:extLst>
          </p:cNvPr>
          <p:cNvSpPr/>
          <p:nvPr/>
        </p:nvSpPr>
        <p:spPr>
          <a:xfrm>
            <a:off x="5321527" y="2231271"/>
            <a:ext cx="101427" cy="102054"/>
          </a:xfrm>
          <a:custGeom>
            <a:avLst/>
            <a:gdLst>
              <a:gd name="connsiteX0" fmla="*/ 101427 w 101427"/>
              <a:gd name="connsiteY0" fmla="*/ 55701 h 102054"/>
              <a:gd name="connsiteX1" fmla="*/ 55381 w 101427"/>
              <a:gd name="connsiteY1" fmla="*/ 0 h 102054"/>
              <a:gd name="connsiteX2" fmla="*/ 0 w 101427"/>
              <a:gd name="connsiteY2" fmla="*/ 46353 h 102054"/>
              <a:gd name="connsiteX3" fmla="*/ 46047 w 101427"/>
              <a:gd name="connsiteY3" fmla="*/ 102055 h 102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427" h="102054">
                <a:moveTo>
                  <a:pt x="101427" y="55701"/>
                </a:moveTo>
                <a:lnTo>
                  <a:pt x="55381" y="0"/>
                </a:lnTo>
                <a:lnTo>
                  <a:pt x="0" y="46353"/>
                </a:lnTo>
                <a:lnTo>
                  <a:pt x="46047" y="102055"/>
                </a:lnTo>
                <a:close/>
              </a:path>
            </a:pathLst>
          </a:custGeom>
          <a:solidFill>
            <a:srgbClr val="F9B233"/>
          </a:solidFill>
          <a:ln w="829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57" name="Freeform: Shape 556">
            <a:extLst>
              <a:ext uri="{FF2B5EF4-FFF2-40B4-BE49-F238E27FC236}">
                <a16:creationId xmlns:a16="http://schemas.microsoft.com/office/drawing/2014/main" id="{022C7327-6336-4E3A-91C0-90670C2D509C}"/>
              </a:ext>
            </a:extLst>
          </p:cNvPr>
          <p:cNvSpPr/>
          <p:nvPr/>
        </p:nvSpPr>
        <p:spPr>
          <a:xfrm>
            <a:off x="5244700" y="1821502"/>
            <a:ext cx="101427" cy="102097"/>
          </a:xfrm>
          <a:custGeom>
            <a:avLst/>
            <a:gdLst>
              <a:gd name="connsiteX0" fmla="*/ 101427 w 101427"/>
              <a:gd name="connsiteY0" fmla="*/ 55744 h 102097"/>
              <a:gd name="connsiteX1" fmla="*/ 55381 w 101427"/>
              <a:gd name="connsiteY1" fmla="*/ 0 h 102097"/>
              <a:gd name="connsiteX2" fmla="*/ 0 w 101427"/>
              <a:gd name="connsiteY2" fmla="*/ 46353 h 102097"/>
              <a:gd name="connsiteX3" fmla="*/ 46047 w 101427"/>
              <a:gd name="connsiteY3" fmla="*/ 102098 h 102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427" h="102097">
                <a:moveTo>
                  <a:pt x="101427" y="55744"/>
                </a:moveTo>
                <a:lnTo>
                  <a:pt x="55381" y="0"/>
                </a:lnTo>
                <a:lnTo>
                  <a:pt x="0" y="46353"/>
                </a:lnTo>
                <a:lnTo>
                  <a:pt x="46047" y="102098"/>
                </a:lnTo>
                <a:close/>
              </a:path>
            </a:pathLst>
          </a:custGeom>
          <a:solidFill>
            <a:srgbClr val="F9B233"/>
          </a:solidFill>
          <a:ln w="829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58" name="Freeform: Shape 557">
            <a:extLst>
              <a:ext uri="{FF2B5EF4-FFF2-40B4-BE49-F238E27FC236}">
                <a16:creationId xmlns:a16="http://schemas.microsoft.com/office/drawing/2014/main" id="{C876E73B-1329-4037-B37B-0C30BFC6093F}"/>
              </a:ext>
            </a:extLst>
          </p:cNvPr>
          <p:cNvSpPr/>
          <p:nvPr/>
        </p:nvSpPr>
        <p:spPr>
          <a:xfrm>
            <a:off x="5520898" y="1543210"/>
            <a:ext cx="101427" cy="102097"/>
          </a:xfrm>
          <a:custGeom>
            <a:avLst/>
            <a:gdLst>
              <a:gd name="connsiteX0" fmla="*/ 101427 w 101427"/>
              <a:gd name="connsiteY0" fmla="*/ 55744 h 102097"/>
              <a:gd name="connsiteX1" fmla="*/ 55381 w 101427"/>
              <a:gd name="connsiteY1" fmla="*/ 0 h 102097"/>
              <a:gd name="connsiteX2" fmla="*/ 0 w 101427"/>
              <a:gd name="connsiteY2" fmla="*/ 46353 h 102097"/>
              <a:gd name="connsiteX3" fmla="*/ 46047 w 101427"/>
              <a:gd name="connsiteY3" fmla="*/ 102098 h 102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427" h="102097">
                <a:moveTo>
                  <a:pt x="101427" y="55744"/>
                </a:moveTo>
                <a:lnTo>
                  <a:pt x="55381" y="0"/>
                </a:lnTo>
                <a:lnTo>
                  <a:pt x="0" y="46353"/>
                </a:lnTo>
                <a:lnTo>
                  <a:pt x="46047" y="102098"/>
                </a:lnTo>
                <a:close/>
              </a:path>
            </a:pathLst>
          </a:custGeom>
          <a:solidFill>
            <a:srgbClr val="F9B233"/>
          </a:solidFill>
          <a:ln w="829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59" name="Freeform: Shape 558">
            <a:extLst>
              <a:ext uri="{FF2B5EF4-FFF2-40B4-BE49-F238E27FC236}">
                <a16:creationId xmlns:a16="http://schemas.microsoft.com/office/drawing/2014/main" id="{EB8A8718-2107-4551-A935-187C80E94873}"/>
              </a:ext>
            </a:extLst>
          </p:cNvPr>
          <p:cNvSpPr/>
          <p:nvPr/>
        </p:nvSpPr>
        <p:spPr>
          <a:xfrm>
            <a:off x="5177247" y="2106729"/>
            <a:ext cx="101427" cy="102097"/>
          </a:xfrm>
          <a:custGeom>
            <a:avLst/>
            <a:gdLst>
              <a:gd name="connsiteX0" fmla="*/ 101427 w 101427"/>
              <a:gd name="connsiteY0" fmla="*/ 55744 h 102097"/>
              <a:gd name="connsiteX1" fmla="*/ 55381 w 101427"/>
              <a:gd name="connsiteY1" fmla="*/ 0 h 102097"/>
              <a:gd name="connsiteX2" fmla="*/ 0 w 101427"/>
              <a:gd name="connsiteY2" fmla="*/ 46353 h 102097"/>
              <a:gd name="connsiteX3" fmla="*/ 46047 w 101427"/>
              <a:gd name="connsiteY3" fmla="*/ 102098 h 102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427" h="102097">
                <a:moveTo>
                  <a:pt x="101427" y="55744"/>
                </a:moveTo>
                <a:lnTo>
                  <a:pt x="55381" y="0"/>
                </a:lnTo>
                <a:lnTo>
                  <a:pt x="0" y="46353"/>
                </a:lnTo>
                <a:lnTo>
                  <a:pt x="46047" y="102098"/>
                </a:lnTo>
                <a:close/>
              </a:path>
            </a:pathLst>
          </a:custGeom>
          <a:solidFill>
            <a:srgbClr val="95C11F"/>
          </a:solidFill>
          <a:ln w="829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60" name="Freeform: Shape 559">
            <a:extLst>
              <a:ext uri="{FF2B5EF4-FFF2-40B4-BE49-F238E27FC236}">
                <a16:creationId xmlns:a16="http://schemas.microsoft.com/office/drawing/2014/main" id="{90FF1D34-472E-45BC-9935-8D950584DE1F}"/>
              </a:ext>
            </a:extLst>
          </p:cNvPr>
          <p:cNvSpPr/>
          <p:nvPr/>
        </p:nvSpPr>
        <p:spPr>
          <a:xfrm>
            <a:off x="5185502" y="1659912"/>
            <a:ext cx="101427" cy="102097"/>
          </a:xfrm>
          <a:custGeom>
            <a:avLst/>
            <a:gdLst>
              <a:gd name="connsiteX0" fmla="*/ 101427 w 101427"/>
              <a:gd name="connsiteY0" fmla="*/ 55744 h 102097"/>
              <a:gd name="connsiteX1" fmla="*/ 55381 w 101427"/>
              <a:gd name="connsiteY1" fmla="*/ 0 h 102097"/>
              <a:gd name="connsiteX2" fmla="*/ 0 w 101427"/>
              <a:gd name="connsiteY2" fmla="*/ 46353 h 102097"/>
              <a:gd name="connsiteX3" fmla="*/ 46047 w 101427"/>
              <a:gd name="connsiteY3" fmla="*/ 102098 h 102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427" h="102097">
                <a:moveTo>
                  <a:pt x="101427" y="55744"/>
                </a:moveTo>
                <a:lnTo>
                  <a:pt x="55381" y="0"/>
                </a:lnTo>
                <a:lnTo>
                  <a:pt x="0" y="46353"/>
                </a:lnTo>
                <a:lnTo>
                  <a:pt x="46047" y="102098"/>
                </a:lnTo>
                <a:close/>
              </a:path>
            </a:pathLst>
          </a:custGeom>
          <a:solidFill>
            <a:srgbClr val="95C11F"/>
          </a:solidFill>
          <a:ln w="829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61" name="Freeform: Shape 560">
            <a:extLst>
              <a:ext uri="{FF2B5EF4-FFF2-40B4-BE49-F238E27FC236}">
                <a16:creationId xmlns:a16="http://schemas.microsoft.com/office/drawing/2014/main" id="{267D6DDF-E5DD-44E6-9E39-8242C80759EC}"/>
              </a:ext>
            </a:extLst>
          </p:cNvPr>
          <p:cNvSpPr/>
          <p:nvPr/>
        </p:nvSpPr>
        <p:spPr>
          <a:xfrm>
            <a:off x="5472196" y="1689680"/>
            <a:ext cx="101427" cy="102097"/>
          </a:xfrm>
          <a:custGeom>
            <a:avLst/>
            <a:gdLst>
              <a:gd name="connsiteX0" fmla="*/ 101427 w 101427"/>
              <a:gd name="connsiteY0" fmla="*/ 55744 h 102097"/>
              <a:gd name="connsiteX1" fmla="*/ 55381 w 101427"/>
              <a:gd name="connsiteY1" fmla="*/ 0 h 102097"/>
              <a:gd name="connsiteX2" fmla="*/ 0 w 101427"/>
              <a:gd name="connsiteY2" fmla="*/ 46353 h 102097"/>
              <a:gd name="connsiteX3" fmla="*/ 46047 w 101427"/>
              <a:gd name="connsiteY3" fmla="*/ 102098 h 102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427" h="102097">
                <a:moveTo>
                  <a:pt x="101427" y="55744"/>
                </a:moveTo>
                <a:lnTo>
                  <a:pt x="55381" y="0"/>
                </a:lnTo>
                <a:lnTo>
                  <a:pt x="0" y="46353"/>
                </a:lnTo>
                <a:lnTo>
                  <a:pt x="46047" y="102098"/>
                </a:lnTo>
                <a:close/>
              </a:path>
            </a:pathLst>
          </a:custGeom>
          <a:solidFill>
            <a:srgbClr val="95C11F"/>
          </a:solidFill>
          <a:ln w="8292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562" name="Graphique 1">
            <a:extLst>
              <a:ext uri="{FF2B5EF4-FFF2-40B4-BE49-F238E27FC236}">
                <a16:creationId xmlns:a16="http://schemas.microsoft.com/office/drawing/2014/main" id="{E0A4D984-9D24-4D71-B171-17A6E7370276}"/>
              </a:ext>
            </a:extLst>
          </p:cNvPr>
          <p:cNvGrpSpPr/>
          <p:nvPr/>
        </p:nvGrpSpPr>
        <p:grpSpPr>
          <a:xfrm>
            <a:off x="2600818" y="2534506"/>
            <a:ext cx="1406546" cy="258087"/>
            <a:chOff x="2600818" y="2534506"/>
            <a:chExt cx="1406546" cy="258087"/>
          </a:xfrm>
          <a:solidFill>
            <a:schemeClr val="accent1"/>
          </a:solidFill>
        </p:grpSpPr>
        <p:grpSp>
          <p:nvGrpSpPr>
            <p:cNvPr id="563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2616540" y="2534506"/>
              <a:ext cx="1390824" cy="199672"/>
              <a:chOff x="2616540" y="2534506"/>
              <a:chExt cx="1390824" cy="199672"/>
            </a:xfrm>
            <a:solidFill>
              <a:schemeClr val="accent1"/>
            </a:solidFill>
          </p:grpSpPr>
          <p:grpSp>
            <p:nvGrpSpPr>
              <p:cNvPr id="564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2616540" y="2534506"/>
                <a:ext cx="1390824" cy="199672"/>
                <a:chOff x="2616540" y="2534506"/>
                <a:chExt cx="1390824" cy="199672"/>
              </a:xfrm>
              <a:solidFill>
                <a:srgbClr val="27509B"/>
              </a:solidFill>
            </p:grpSpPr>
            <p:sp>
              <p:nvSpPr>
                <p:cNvPr id="565" name="Freeform: Shape 564">
                  <a:extLst>
                    <a:ext uri="{FF2B5EF4-FFF2-40B4-BE49-F238E27FC236}">
                      <a16:creationId xmlns:a16="http://schemas.microsoft.com/office/drawing/2014/main" id="{A8C972EB-AB01-4AAA-827A-121C7A6AAC55}"/>
                    </a:ext>
                  </a:extLst>
                </p:cNvPr>
                <p:cNvSpPr/>
                <p:nvPr/>
              </p:nvSpPr>
              <p:spPr>
                <a:xfrm>
                  <a:off x="3668111" y="2534506"/>
                  <a:ext cx="339253" cy="199672"/>
                </a:xfrm>
                <a:custGeom>
                  <a:avLst/>
                  <a:gdLst>
                    <a:gd name="connsiteX0" fmla="*/ 310796 w 339253"/>
                    <a:gd name="connsiteY0" fmla="*/ 199672 h 199672"/>
                    <a:gd name="connsiteX1" fmla="*/ 0 w 339253"/>
                    <a:gd name="connsiteY1" fmla="*/ 199672 h 199672"/>
                    <a:gd name="connsiteX2" fmla="*/ 28416 w 339253"/>
                    <a:gd name="connsiteY2" fmla="*/ 99211 h 199672"/>
                    <a:gd name="connsiteX3" fmla="*/ 0 w 339253"/>
                    <a:gd name="connsiteY3" fmla="*/ 0 h 199672"/>
                    <a:gd name="connsiteX4" fmla="*/ 310796 w 339253"/>
                    <a:gd name="connsiteY4" fmla="*/ 0 h 199672"/>
                    <a:gd name="connsiteX5" fmla="*/ 339254 w 339253"/>
                    <a:gd name="connsiteY5" fmla="*/ 99211 h 199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9253" h="199672">
                      <a:moveTo>
                        <a:pt x="310796" y="199672"/>
                      </a:moveTo>
                      <a:lnTo>
                        <a:pt x="0" y="199672"/>
                      </a:lnTo>
                      <a:lnTo>
                        <a:pt x="28416" y="99211"/>
                      </a:lnTo>
                      <a:lnTo>
                        <a:pt x="0" y="0"/>
                      </a:lnTo>
                      <a:lnTo>
                        <a:pt x="310796" y="0"/>
                      </a:lnTo>
                      <a:lnTo>
                        <a:pt x="339254" y="9921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829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66" name="Freeform: Shape 565">
                  <a:extLst>
                    <a:ext uri="{FF2B5EF4-FFF2-40B4-BE49-F238E27FC236}">
                      <a16:creationId xmlns:a16="http://schemas.microsoft.com/office/drawing/2014/main" id="{29CD9BEC-5445-4ADD-9AB6-C94EECFB707E}"/>
                    </a:ext>
                  </a:extLst>
                </p:cNvPr>
                <p:cNvSpPr/>
                <p:nvPr/>
              </p:nvSpPr>
              <p:spPr>
                <a:xfrm>
                  <a:off x="2966870" y="2534506"/>
                  <a:ext cx="339502" cy="199672"/>
                </a:xfrm>
                <a:custGeom>
                  <a:avLst/>
                  <a:gdLst>
                    <a:gd name="connsiteX0" fmla="*/ 311086 w 339502"/>
                    <a:gd name="connsiteY0" fmla="*/ 199672 h 199672"/>
                    <a:gd name="connsiteX1" fmla="*/ 0 w 339502"/>
                    <a:gd name="connsiteY1" fmla="*/ 199672 h 199672"/>
                    <a:gd name="connsiteX2" fmla="*/ 28416 w 339502"/>
                    <a:gd name="connsiteY2" fmla="*/ 99211 h 199672"/>
                    <a:gd name="connsiteX3" fmla="*/ 0 w 339502"/>
                    <a:gd name="connsiteY3" fmla="*/ 0 h 199672"/>
                    <a:gd name="connsiteX4" fmla="*/ 311086 w 339502"/>
                    <a:gd name="connsiteY4" fmla="*/ 0 h 199672"/>
                    <a:gd name="connsiteX5" fmla="*/ 339503 w 339502"/>
                    <a:gd name="connsiteY5" fmla="*/ 99211 h 199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9502" h="199672">
                      <a:moveTo>
                        <a:pt x="311086" y="199672"/>
                      </a:moveTo>
                      <a:lnTo>
                        <a:pt x="0" y="199672"/>
                      </a:lnTo>
                      <a:lnTo>
                        <a:pt x="28416" y="99211"/>
                      </a:lnTo>
                      <a:lnTo>
                        <a:pt x="0" y="0"/>
                      </a:lnTo>
                      <a:lnTo>
                        <a:pt x="311086" y="0"/>
                      </a:lnTo>
                      <a:lnTo>
                        <a:pt x="339503" y="9921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829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67" name="Freeform: Shape 566">
                  <a:extLst>
                    <a:ext uri="{FF2B5EF4-FFF2-40B4-BE49-F238E27FC236}">
                      <a16:creationId xmlns:a16="http://schemas.microsoft.com/office/drawing/2014/main" id="{F5B6F25D-F01D-4818-9234-627A2A33259A}"/>
                    </a:ext>
                  </a:extLst>
                </p:cNvPr>
                <p:cNvSpPr/>
                <p:nvPr/>
              </p:nvSpPr>
              <p:spPr>
                <a:xfrm>
                  <a:off x="2616540" y="2534506"/>
                  <a:ext cx="339253" cy="199672"/>
                </a:xfrm>
                <a:custGeom>
                  <a:avLst/>
                  <a:gdLst>
                    <a:gd name="connsiteX0" fmla="*/ 310796 w 339253"/>
                    <a:gd name="connsiteY0" fmla="*/ 199672 h 199672"/>
                    <a:gd name="connsiteX1" fmla="*/ 0 w 339253"/>
                    <a:gd name="connsiteY1" fmla="*/ 199672 h 199672"/>
                    <a:gd name="connsiteX2" fmla="*/ 28416 w 339253"/>
                    <a:gd name="connsiteY2" fmla="*/ 99211 h 199672"/>
                    <a:gd name="connsiteX3" fmla="*/ 0 w 339253"/>
                    <a:gd name="connsiteY3" fmla="*/ 0 h 199672"/>
                    <a:gd name="connsiteX4" fmla="*/ 310796 w 339253"/>
                    <a:gd name="connsiteY4" fmla="*/ 0 h 199672"/>
                    <a:gd name="connsiteX5" fmla="*/ 339254 w 339253"/>
                    <a:gd name="connsiteY5" fmla="*/ 99211 h 199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9253" h="199672">
                      <a:moveTo>
                        <a:pt x="310796" y="199672"/>
                      </a:moveTo>
                      <a:lnTo>
                        <a:pt x="0" y="199672"/>
                      </a:lnTo>
                      <a:lnTo>
                        <a:pt x="28416" y="99211"/>
                      </a:lnTo>
                      <a:lnTo>
                        <a:pt x="0" y="0"/>
                      </a:lnTo>
                      <a:lnTo>
                        <a:pt x="310796" y="0"/>
                      </a:lnTo>
                      <a:lnTo>
                        <a:pt x="339254" y="9921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829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68" name="Freeform: Shape 567">
                  <a:extLst>
                    <a:ext uri="{FF2B5EF4-FFF2-40B4-BE49-F238E27FC236}">
                      <a16:creationId xmlns:a16="http://schemas.microsoft.com/office/drawing/2014/main" id="{00317A94-4C90-435C-9C83-61E601F0660B}"/>
                    </a:ext>
                  </a:extLst>
                </p:cNvPr>
                <p:cNvSpPr/>
                <p:nvPr/>
              </p:nvSpPr>
              <p:spPr>
                <a:xfrm>
                  <a:off x="3317491" y="2534506"/>
                  <a:ext cx="339502" cy="199672"/>
                </a:xfrm>
                <a:custGeom>
                  <a:avLst/>
                  <a:gdLst>
                    <a:gd name="connsiteX0" fmla="*/ 311086 w 339502"/>
                    <a:gd name="connsiteY0" fmla="*/ 199672 h 199672"/>
                    <a:gd name="connsiteX1" fmla="*/ 0 w 339502"/>
                    <a:gd name="connsiteY1" fmla="*/ 199672 h 199672"/>
                    <a:gd name="connsiteX2" fmla="*/ 28416 w 339502"/>
                    <a:gd name="connsiteY2" fmla="*/ 99211 h 199672"/>
                    <a:gd name="connsiteX3" fmla="*/ 0 w 339502"/>
                    <a:gd name="connsiteY3" fmla="*/ 0 h 199672"/>
                    <a:gd name="connsiteX4" fmla="*/ 311086 w 339502"/>
                    <a:gd name="connsiteY4" fmla="*/ 0 h 199672"/>
                    <a:gd name="connsiteX5" fmla="*/ 339503 w 339502"/>
                    <a:gd name="connsiteY5" fmla="*/ 99211 h 199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9502" h="199672">
                      <a:moveTo>
                        <a:pt x="311086" y="199672"/>
                      </a:moveTo>
                      <a:lnTo>
                        <a:pt x="0" y="199672"/>
                      </a:lnTo>
                      <a:lnTo>
                        <a:pt x="28416" y="99211"/>
                      </a:lnTo>
                      <a:lnTo>
                        <a:pt x="0" y="0"/>
                      </a:lnTo>
                      <a:lnTo>
                        <a:pt x="311086" y="0"/>
                      </a:lnTo>
                      <a:lnTo>
                        <a:pt x="339503" y="9921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829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69" name="Freeform: Shape 568">
                <a:extLst>
                  <a:ext uri="{FF2B5EF4-FFF2-40B4-BE49-F238E27FC236}">
                    <a16:creationId xmlns:a16="http://schemas.microsoft.com/office/drawing/2014/main" id="{0BE28EE2-0830-496D-B7D0-BB93350ECB0D}"/>
                  </a:ext>
                </a:extLst>
              </p:cNvPr>
              <p:cNvSpPr/>
              <p:nvPr/>
            </p:nvSpPr>
            <p:spPr>
              <a:xfrm>
                <a:off x="2717885" y="2591930"/>
                <a:ext cx="136481" cy="88527"/>
              </a:xfrm>
              <a:custGeom>
                <a:avLst/>
                <a:gdLst>
                  <a:gd name="connsiteX0" fmla="*/ 73758 w 136481"/>
                  <a:gd name="connsiteY0" fmla="*/ 57554 h 88527"/>
                  <a:gd name="connsiteX1" fmla="*/ 53307 w 136481"/>
                  <a:gd name="connsiteY1" fmla="*/ 57554 h 88527"/>
                  <a:gd name="connsiteX2" fmla="*/ 42148 w 136481"/>
                  <a:gd name="connsiteY2" fmla="*/ 88528 h 88527"/>
                  <a:gd name="connsiteX3" fmla="*/ 0 w 136481"/>
                  <a:gd name="connsiteY3" fmla="*/ 88528 h 88527"/>
                  <a:gd name="connsiteX4" fmla="*/ 31735 w 136481"/>
                  <a:gd name="connsiteY4" fmla="*/ 0 h 88527"/>
                  <a:gd name="connsiteX5" fmla="*/ 73882 w 136481"/>
                  <a:gd name="connsiteY5" fmla="*/ 0 h 88527"/>
                  <a:gd name="connsiteX6" fmla="*/ 62723 w 136481"/>
                  <a:gd name="connsiteY6" fmla="*/ 30974 h 88527"/>
                  <a:gd name="connsiteX7" fmla="*/ 83175 w 136481"/>
                  <a:gd name="connsiteY7" fmla="*/ 30974 h 88527"/>
                  <a:gd name="connsiteX8" fmla="*/ 94334 w 136481"/>
                  <a:gd name="connsiteY8" fmla="*/ 0 h 88527"/>
                  <a:gd name="connsiteX9" fmla="*/ 136482 w 136481"/>
                  <a:gd name="connsiteY9" fmla="*/ 0 h 88527"/>
                  <a:gd name="connsiteX10" fmla="*/ 104746 w 136481"/>
                  <a:gd name="connsiteY10" fmla="*/ 88528 h 88527"/>
                  <a:gd name="connsiteX11" fmla="*/ 62599 w 136481"/>
                  <a:gd name="connsiteY11" fmla="*/ 88528 h 88527"/>
                  <a:gd name="connsiteX12" fmla="*/ 73758 w 136481"/>
                  <a:gd name="connsiteY12" fmla="*/ 57554 h 88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6481" h="88527">
                    <a:moveTo>
                      <a:pt x="73758" y="57554"/>
                    </a:moveTo>
                    <a:lnTo>
                      <a:pt x="53307" y="57554"/>
                    </a:lnTo>
                    <a:lnTo>
                      <a:pt x="42148" y="88528"/>
                    </a:lnTo>
                    <a:lnTo>
                      <a:pt x="0" y="88528"/>
                    </a:lnTo>
                    <a:lnTo>
                      <a:pt x="31735" y="0"/>
                    </a:lnTo>
                    <a:lnTo>
                      <a:pt x="73882" y="0"/>
                    </a:lnTo>
                    <a:lnTo>
                      <a:pt x="62723" y="30974"/>
                    </a:lnTo>
                    <a:lnTo>
                      <a:pt x="83175" y="30974"/>
                    </a:lnTo>
                    <a:lnTo>
                      <a:pt x="94334" y="0"/>
                    </a:lnTo>
                    <a:lnTo>
                      <a:pt x="136482" y="0"/>
                    </a:lnTo>
                    <a:lnTo>
                      <a:pt x="104746" y="88528"/>
                    </a:lnTo>
                    <a:lnTo>
                      <a:pt x="62599" y="88528"/>
                    </a:lnTo>
                    <a:lnTo>
                      <a:pt x="73758" y="57554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0" name="Freeform: Shape 569">
                <a:extLst>
                  <a:ext uri="{FF2B5EF4-FFF2-40B4-BE49-F238E27FC236}">
                    <a16:creationId xmlns:a16="http://schemas.microsoft.com/office/drawing/2014/main" id="{F6498277-9BE2-4CEB-AF20-E44D256FFC4A}"/>
                  </a:ext>
                </a:extLst>
              </p:cNvPr>
              <p:cNvSpPr/>
              <p:nvPr/>
            </p:nvSpPr>
            <p:spPr>
              <a:xfrm>
                <a:off x="3091695" y="2591973"/>
                <a:ext cx="125737" cy="88527"/>
              </a:xfrm>
              <a:custGeom>
                <a:avLst/>
                <a:gdLst>
                  <a:gd name="connsiteX0" fmla="*/ 31777 w 125737"/>
                  <a:gd name="connsiteY0" fmla="*/ 0 h 88527"/>
                  <a:gd name="connsiteX1" fmla="*/ 99229 w 125737"/>
                  <a:gd name="connsiteY1" fmla="*/ 0 h 88527"/>
                  <a:gd name="connsiteX2" fmla="*/ 124410 w 125737"/>
                  <a:gd name="connsiteY2" fmla="*/ 26537 h 88527"/>
                  <a:gd name="connsiteX3" fmla="*/ 98483 w 125737"/>
                  <a:gd name="connsiteY3" fmla="*/ 44759 h 88527"/>
                  <a:gd name="connsiteX4" fmla="*/ 112794 w 125737"/>
                  <a:gd name="connsiteY4" fmla="*/ 70219 h 88527"/>
                  <a:gd name="connsiteX5" fmla="*/ 74381 w 125737"/>
                  <a:gd name="connsiteY5" fmla="*/ 88528 h 88527"/>
                  <a:gd name="connsiteX6" fmla="*/ 0 w 125737"/>
                  <a:gd name="connsiteY6" fmla="*/ 88528 h 88527"/>
                  <a:gd name="connsiteX7" fmla="*/ 31777 w 125737"/>
                  <a:gd name="connsiteY7" fmla="*/ 0 h 88527"/>
                  <a:gd name="connsiteX8" fmla="*/ 54759 w 125737"/>
                  <a:gd name="connsiteY8" fmla="*/ 53461 h 88527"/>
                  <a:gd name="connsiteX9" fmla="*/ 50776 w 125737"/>
                  <a:gd name="connsiteY9" fmla="*/ 64403 h 88527"/>
                  <a:gd name="connsiteX10" fmla="*/ 66167 w 125737"/>
                  <a:gd name="connsiteY10" fmla="*/ 64403 h 88527"/>
                  <a:gd name="connsiteX11" fmla="*/ 74297 w 125737"/>
                  <a:gd name="connsiteY11" fmla="*/ 60096 h 88527"/>
                  <a:gd name="connsiteX12" fmla="*/ 69444 w 125737"/>
                  <a:gd name="connsiteY12" fmla="*/ 53461 h 88527"/>
                  <a:gd name="connsiteX13" fmla="*/ 54759 w 125737"/>
                  <a:gd name="connsiteY13" fmla="*/ 53461 h 88527"/>
                  <a:gd name="connsiteX14" fmla="*/ 65296 w 125737"/>
                  <a:gd name="connsiteY14" fmla="*/ 24081 h 88527"/>
                  <a:gd name="connsiteX15" fmla="*/ 61562 w 125737"/>
                  <a:gd name="connsiteY15" fmla="*/ 34291 h 88527"/>
                  <a:gd name="connsiteX16" fmla="*/ 73302 w 125737"/>
                  <a:gd name="connsiteY16" fmla="*/ 34291 h 88527"/>
                  <a:gd name="connsiteX17" fmla="*/ 80935 w 125737"/>
                  <a:gd name="connsiteY17" fmla="*/ 29595 h 88527"/>
                  <a:gd name="connsiteX18" fmla="*/ 76952 w 125737"/>
                  <a:gd name="connsiteY18" fmla="*/ 24081 h 88527"/>
                  <a:gd name="connsiteX19" fmla="*/ 65296 w 125737"/>
                  <a:gd name="connsiteY19" fmla="*/ 24081 h 88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5737" h="88527">
                    <a:moveTo>
                      <a:pt x="31777" y="0"/>
                    </a:moveTo>
                    <a:lnTo>
                      <a:pt x="99229" y="0"/>
                    </a:lnTo>
                    <a:cubicBezTo>
                      <a:pt x="121879" y="0"/>
                      <a:pt x="129015" y="12924"/>
                      <a:pt x="124410" y="26537"/>
                    </a:cubicBezTo>
                    <a:cubicBezTo>
                      <a:pt x="120552" y="37608"/>
                      <a:pt x="111094" y="43639"/>
                      <a:pt x="98483" y="44759"/>
                    </a:cubicBezTo>
                    <a:cubicBezTo>
                      <a:pt x="111342" y="46612"/>
                      <a:pt x="117606" y="57037"/>
                      <a:pt x="112794" y="70219"/>
                    </a:cubicBezTo>
                    <a:cubicBezTo>
                      <a:pt x="108438" y="82497"/>
                      <a:pt x="98607" y="88528"/>
                      <a:pt x="74381" y="88528"/>
                    </a:cubicBezTo>
                    <a:lnTo>
                      <a:pt x="0" y="88528"/>
                    </a:lnTo>
                    <a:lnTo>
                      <a:pt x="31777" y="0"/>
                    </a:lnTo>
                    <a:close/>
                    <a:moveTo>
                      <a:pt x="54759" y="53461"/>
                    </a:moveTo>
                    <a:lnTo>
                      <a:pt x="50776" y="64403"/>
                    </a:lnTo>
                    <a:lnTo>
                      <a:pt x="66167" y="64403"/>
                    </a:lnTo>
                    <a:cubicBezTo>
                      <a:pt x="70398" y="64403"/>
                      <a:pt x="73053" y="63542"/>
                      <a:pt x="74297" y="60096"/>
                    </a:cubicBezTo>
                    <a:cubicBezTo>
                      <a:pt x="75625" y="56046"/>
                      <a:pt x="74671" y="53461"/>
                      <a:pt x="69444" y="53461"/>
                    </a:cubicBezTo>
                    <a:lnTo>
                      <a:pt x="54759" y="53461"/>
                    </a:lnTo>
                    <a:close/>
                    <a:moveTo>
                      <a:pt x="65296" y="24081"/>
                    </a:moveTo>
                    <a:lnTo>
                      <a:pt x="61562" y="34291"/>
                    </a:lnTo>
                    <a:lnTo>
                      <a:pt x="73302" y="34291"/>
                    </a:lnTo>
                    <a:cubicBezTo>
                      <a:pt x="78280" y="34291"/>
                      <a:pt x="79856" y="32568"/>
                      <a:pt x="80935" y="29595"/>
                    </a:cubicBezTo>
                    <a:cubicBezTo>
                      <a:pt x="82013" y="26795"/>
                      <a:pt x="81681" y="24081"/>
                      <a:pt x="76952" y="24081"/>
                    </a:cubicBezTo>
                    <a:lnTo>
                      <a:pt x="65296" y="24081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1" name="Freeform: Shape 570">
                <a:extLst>
                  <a:ext uri="{FF2B5EF4-FFF2-40B4-BE49-F238E27FC236}">
                    <a16:creationId xmlns:a16="http://schemas.microsoft.com/office/drawing/2014/main" id="{1D041024-E97A-4A1C-A8CC-CBAD2AF393A6}"/>
                  </a:ext>
                </a:extLst>
              </p:cNvPr>
              <p:cNvSpPr/>
              <p:nvPr/>
            </p:nvSpPr>
            <p:spPr>
              <a:xfrm>
                <a:off x="3396641" y="2591973"/>
                <a:ext cx="181159" cy="88527"/>
              </a:xfrm>
              <a:custGeom>
                <a:avLst/>
                <a:gdLst>
                  <a:gd name="connsiteX0" fmla="*/ 57538 w 181159"/>
                  <a:gd name="connsiteY0" fmla="*/ 28518 h 88527"/>
                  <a:gd name="connsiteX1" fmla="*/ 36091 w 181159"/>
                  <a:gd name="connsiteY1" fmla="*/ 88528 h 88527"/>
                  <a:gd name="connsiteX2" fmla="*/ 0 w 181159"/>
                  <a:gd name="connsiteY2" fmla="*/ 88528 h 88527"/>
                  <a:gd name="connsiteX3" fmla="*/ 31735 w 181159"/>
                  <a:gd name="connsiteY3" fmla="*/ 0 h 88527"/>
                  <a:gd name="connsiteX4" fmla="*/ 78114 w 181159"/>
                  <a:gd name="connsiteY4" fmla="*/ 0 h 88527"/>
                  <a:gd name="connsiteX5" fmla="*/ 91430 w 181159"/>
                  <a:gd name="connsiteY5" fmla="*/ 16844 h 88527"/>
                  <a:gd name="connsiteX6" fmla="*/ 90227 w 181159"/>
                  <a:gd name="connsiteY6" fmla="*/ 43295 h 88527"/>
                  <a:gd name="connsiteX7" fmla="*/ 116611 w 181159"/>
                  <a:gd name="connsiteY7" fmla="*/ 0 h 88527"/>
                  <a:gd name="connsiteX8" fmla="*/ 181160 w 181159"/>
                  <a:gd name="connsiteY8" fmla="*/ 0 h 88527"/>
                  <a:gd name="connsiteX9" fmla="*/ 149549 w 181159"/>
                  <a:gd name="connsiteY9" fmla="*/ 88528 h 88527"/>
                  <a:gd name="connsiteX10" fmla="*/ 107028 w 181159"/>
                  <a:gd name="connsiteY10" fmla="*/ 88528 h 88527"/>
                  <a:gd name="connsiteX11" fmla="*/ 127977 w 181159"/>
                  <a:gd name="connsiteY11" fmla="*/ 30242 h 88527"/>
                  <a:gd name="connsiteX12" fmla="*/ 89688 w 181159"/>
                  <a:gd name="connsiteY12" fmla="*/ 88528 h 88527"/>
                  <a:gd name="connsiteX13" fmla="*/ 54551 w 181159"/>
                  <a:gd name="connsiteY13" fmla="*/ 88528 h 88527"/>
                  <a:gd name="connsiteX14" fmla="*/ 57538 w 181159"/>
                  <a:gd name="connsiteY14" fmla="*/ 28518 h 88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1159" h="88527">
                    <a:moveTo>
                      <a:pt x="57538" y="28518"/>
                    </a:moveTo>
                    <a:lnTo>
                      <a:pt x="36091" y="88528"/>
                    </a:lnTo>
                    <a:lnTo>
                      <a:pt x="0" y="88528"/>
                    </a:lnTo>
                    <a:lnTo>
                      <a:pt x="31735" y="0"/>
                    </a:lnTo>
                    <a:lnTo>
                      <a:pt x="78114" y="0"/>
                    </a:lnTo>
                    <a:cubicBezTo>
                      <a:pt x="88900" y="0"/>
                      <a:pt x="91803" y="6031"/>
                      <a:pt x="91430" y="16844"/>
                    </a:cubicBezTo>
                    <a:lnTo>
                      <a:pt x="90227" y="43295"/>
                    </a:lnTo>
                    <a:lnTo>
                      <a:pt x="116611" y="0"/>
                    </a:lnTo>
                    <a:lnTo>
                      <a:pt x="181160" y="0"/>
                    </a:lnTo>
                    <a:lnTo>
                      <a:pt x="149549" y="88528"/>
                    </a:lnTo>
                    <a:lnTo>
                      <a:pt x="107028" y="88528"/>
                    </a:lnTo>
                    <a:lnTo>
                      <a:pt x="127977" y="30242"/>
                    </a:lnTo>
                    <a:lnTo>
                      <a:pt x="89688" y="88528"/>
                    </a:lnTo>
                    <a:lnTo>
                      <a:pt x="54551" y="88528"/>
                    </a:lnTo>
                    <a:lnTo>
                      <a:pt x="57538" y="28518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2" name="Freeform: Shape 571">
                <a:extLst>
                  <a:ext uri="{FF2B5EF4-FFF2-40B4-BE49-F238E27FC236}">
                    <a16:creationId xmlns:a16="http://schemas.microsoft.com/office/drawing/2014/main" id="{4787D2B8-CF83-45F9-83E3-9190F39D6660}"/>
                  </a:ext>
                </a:extLst>
              </p:cNvPr>
              <p:cNvSpPr/>
              <p:nvPr/>
            </p:nvSpPr>
            <p:spPr>
              <a:xfrm>
                <a:off x="3791691" y="2591973"/>
                <a:ext cx="92052" cy="88484"/>
              </a:xfrm>
              <a:custGeom>
                <a:avLst/>
                <a:gdLst>
                  <a:gd name="connsiteX0" fmla="*/ 31735 w 92052"/>
                  <a:gd name="connsiteY0" fmla="*/ 0 h 88484"/>
                  <a:gd name="connsiteX1" fmla="*/ 73882 w 92052"/>
                  <a:gd name="connsiteY1" fmla="*/ 0 h 88484"/>
                  <a:gd name="connsiteX2" fmla="*/ 51730 w 92052"/>
                  <a:gd name="connsiteY2" fmla="*/ 61948 h 88484"/>
                  <a:gd name="connsiteX3" fmla="*/ 92052 w 92052"/>
                  <a:gd name="connsiteY3" fmla="*/ 61948 h 88484"/>
                  <a:gd name="connsiteX4" fmla="*/ 82470 w 92052"/>
                  <a:gd name="connsiteY4" fmla="*/ 88485 h 88484"/>
                  <a:gd name="connsiteX5" fmla="*/ 0 w 92052"/>
                  <a:gd name="connsiteY5" fmla="*/ 88485 h 88484"/>
                  <a:gd name="connsiteX6" fmla="*/ 31735 w 92052"/>
                  <a:gd name="connsiteY6" fmla="*/ 0 h 8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052" h="88484">
                    <a:moveTo>
                      <a:pt x="31735" y="0"/>
                    </a:moveTo>
                    <a:lnTo>
                      <a:pt x="73882" y="0"/>
                    </a:lnTo>
                    <a:lnTo>
                      <a:pt x="51730" y="61948"/>
                    </a:lnTo>
                    <a:lnTo>
                      <a:pt x="92052" y="61948"/>
                    </a:lnTo>
                    <a:lnTo>
                      <a:pt x="82470" y="88485"/>
                    </a:lnTo>
                    <a:lnTo>
                      <a:pt x="0" y="88485"/>
                    </a:lnTo>
                    <a:lnTo>
                      <a:pt x="31735" y="0"/>
                    </a:lnTo>
                    <a:close/>
                  </a:path>
                </a:pathLst>
              </a:custGeom>
              <a:solidFill>
                <a:srgbClr val="FFFFFF"/>
              </a:solidFill>
              <a:ln w="41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573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GrpSpPr/>
            <p:nvPr/>
          </p:nvGrpSpPr>
          <p:grpSpPr>
            <a:xfrm>
              <a:off x="2600818" y="2760499"/>
              <a:ext cx="1321214" cy="32094"/>
              <a:chOff x="2600818" y="2760499"/>
              <a:chExt cx="1321214" cy="32094"/>
            </a:xfrm>
            <a:solidFill>
              <a:srgbClr val="27509B"/>
            </a:solidFill>
          </p:grpSpPr>
          <p:grpSp>
            <p:nvGrpSpPr>
              <p:cNvPr id="574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3041997" y="2760930"/>
                <a:ext cx="175494" cy="31232"/>
                <a:chOff x="3041997" y="2760930"/>
                <a:chExt cx="175494" cy="31232"/>
              </a:xfrm>
              <a:solidFill>
                <a:srgbClr val="27509B"/>
              </a:solidFill>
            </p:grpSpPr>
            <p:sp>
              <p:nvSpPr>
                <p:cNvPr id="575" name="Freeform: Shape 574">
                  <a:extLst>
                    <a:ext uri="{FF2B5EF4-FFF2-40B4-BE49-F238E27FC236}">
                      <a16:creationId xmlns:a16="http://schemas.microsoft.com/office/drawing/2014/main" id="{A512144E-F452-4EAD-985D-40DCB7C67AFC}"/>
                    </a:ext>
                  </a:extLst>
                </p:cNvPr>
                <p:cNvSpPr/>
                <p:nvPr/>
              </p:nvSpPr>
              <p:spPr>
                <a:xfrm>
                  <a:off x="3041997" y="2760930"/>
                  <a:ext cx="43140" cy="30413"/>
                </a:xfrm>
                <a:custGeom>
                  <a:avLst/>
                  <a:gdLst>
                    <a:gd name="connsiteX0" fmla="*/ 10910 w 43140"/>
                    <a:gd name="connsiteY0" fmla="*/ 0 h 30413"/>
                    <a:gd name="connsiteX1" fmla="*/ 34058 w 43140"/>
                    <a:gd name="connsiteY1" fmla="*/ 0 h 30413"/>
                    <a:gd name="connsiteX2" fmla="*/ 42687 w 43140"/>
                    <a:gd name="connsiteY2" fmla="*/ 9133 h 30413"/>
                    <a:gd name="connsiteX3" fmla="*/ 33809 w 43140"/>
                    <a:gd name="connsiteY3" fmla="*/ 15379 h 30413"/>
                    <a:gd name="connsiteX4" fmla="*/ 38704 w 43140"/>
                    <a:gd name="connsiteY4" fmla="*/ 24124 h 30413"/>
                    <a:gd name="connsiteX5" fmla="*/ 25513 w 43140"/>
                    <a:gd name="connsiteY5" fmla="*/ 30414 h 30413"/>
                    <a:gd name="connsiteX6" fmla="*/ 0 w 43140"/>
                    <a:gd name="connsiteY6" fmla="*/ 30414 h 30413"/>
                    <a:gd name="connsiteX7" fmla="*/ 10910 w 43140"/>
                    <a:gd name="connsiteY7" fmla="*/ 0 h 30413"/>
                    <a:gd name="connsiteX8" fmla="*/ 18834 w 43140"/>
                    <a:gd name="connsiteY8" fmla="*/ 18352 h 30413"/>
                    <a:gd name="connsiteX9" fmla="*/ 17465 w 43140"/>
                    <a:gd name="connsiteY9" fmla="*/ 22100 h 30413"/>
                    <a:gd name="connsiteX10" fmla="*/ 22733 w 43140"/>
                    <a:gd name="connsiteY10" fmla="*/ 22100 h 30413"/>
                    <a:gd name="connsiteX11" fmla="*/ 25513 w 43140"/>
                    <a:gd name="connsiteY11" fmla="*/ 20635 h 30413"/>
                    <a:gd name="connsiteX12" fmla="*/ 23853 w 43140"/>
                    <a:gd name="connsiteY12" fmla="*/ 18352 h 30413"/>
                    <a:gd name="connsiteX13" fmla="*/ 18834 w 43140"/>
                    <a:gd name="connsiteY13" fmla="*/ 18352 h 30413"/>
                    <a:gd name="connsiteX14" fmla="*/ 22443 w 43140"/>
                    <a:gd name="connsiteY14" fmla="*/ 8271 h 30413"/>
                    <a:gd name="connsiteX15" fmla="*/ 21157 w 43140"/>
                    <a:gd name="connsiteY15" fmla="*/ 11761 h 30413"/>
                    <a:gd name="connsiteX16" fmla="*/ 25181 w 43140"/>
                    <a:gd name="connsiteY16" fmla="*/ 11761 h 30413"/>
                    <a:gd name="connsiteX17" fmla="*/ 27794 w 43140"/>
                    <a:gd name="connsiteY17" fmla="*/ 10167 h 30413"/>
                    <a:gd name="connsiteX18" fmla="*/ 26425 w 43140"/>
                    <a:gd name="connsiteY18" fmla="*/ 8271 h 30413"/>
                    <a:gd name="connsiteX19" fmla="*/ 22443 w 43140"/>
                    <a:gd name="connsiteY19" fmla="*/ 8271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43140" h="30413">
                      <a:moveTo>
                        <a:pt x="10910" y="0"/>
                      </a:moveTo>
                      <a:lnTo>
                        <a:pt x="34058" y="0"/>
                      </a:lnTo>
                      <a:cubicBezTo>
                        <a:pt x="41816" y="0"/>
                        <a:pt x="44263" y="4437"/>
                        <a:pt x="42687" y="9133"/>
                      </a:cubicBezTo>
                      <a:cubicBezTo>
                        <a:pt x="41359" y="12924"/>
                        <a:pt x="38124" y="14992"/>
                        <a:pt x="33809" y="15379"/>
                      </a:cubicBezTo>
                      <a:cubicBezTo>
                        <a:pt x="38207" y="16025"/>
                        <a:pt x="40364" y="19601"/>
                        <a:pt x="38704" y="24124"/>
                      </a:cubicBezTo>
                      <a:cubicBezTo>
                        <a:pt x="37211" y="28346"/>
                        <a:pt x="33851" y="30414"/>
                        <a:pt x="25513" y="30414"/>
                      </a:cubicBezTo>
                      <a:lnTo>
                        <a:pt x="0" y="30414"/>
                      </a:lnTo>
                      <a:lnTo>
                        <a:pt x="10910" y="0"/>
                      </a:lnTo>
                      <a:close/>
                      <a:moveTo>
                        <a:pt x="18834" y="18352"/>
                      </a:moveTo>
                      <a:lnTo>
                        <a:pt x="17465" y="22100"/>
                      </a:lnTo>
                      <a:lnTo>
                        <a:pt x="22733" y="22100"/>
                      </a:lnTo>
                      <a:cubicBezTo>
                        <a:pt x="24185" y="22100"/>
                        <a:pt x="25098" y="21798"/>
                        <a:pt x="25513" y="20635"/>
                      </a:cubicBezTo>
                      <a:cubicBezTo>
                        <a:pt x="25969" y="19256"/>
                        <a:pt x="25637" y="18352"/>
                        <a:pt x="23853" y="18352"/>
                      </a:cubicBezTo>
                      <a:lnTo>
                        <a:pt x="18834" y="18352"/>
                      </a:lnTo>
                      <a:close/>
                      <a:moveTo>
                        <a:pt x="22443" y="8271"/>
                      </a:moveTo>
                      <a:lnTo>
                        <a:pt x="21157" y="11761"/>
                      </a:lnTo>
                      <a:lnTo>
                        <a:pt x="25181" y="11761"/>
                      </a:lnTo>
                      <a:cubicBezTo>
                        <a:pt x="26881" y="11761"/>
                        <a:pt x="27421" y="11157"/>
                        <a:pt x="27794" y="10167"/>
                      </a:cubicBezTo>
                      <a:cubicBezTo>
                        <a:pt x="28167" y="9176"/>
                        <a:pt x="28043" y="8271"/>
                        <a:pt x="26425" y="8271"/>
                      </a:cubicBezTo>
                      <a:lnTo>
                        <a:pt x="22443" y="82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76" name="Freeform: Shape 575">
                  <a:extLst>
                    <a:ext uri="{FF2B5EF4-FFF2-40B4-BE49-F238E27FC236}">
                      <a16:creationId xmlns:a16="http://schemas.microsoft.com/office/drawing/2014/main" id="{B1138EA6-4CD2-43B9-91BA-99A3EA07DE9A}"/>
                    </a:ext>
                  </a:extLst>
                </p:cNvPr>
                <p:cNvSpPr/>
                <p:nvPr/>
              </p:nvSpPr>
              <p:spPr>
                <a:xfrm>
                  <a:off x="3084335" y="2760930"/>
                  <a:ext cx="43118" cy="31232"/>
                </a:xfrm>
                <a:custGeom>
                  <a:avLst/>
                  <a:gdLst>
                    <a:gd name="connsiteX0" fmla="*/ 36937 w 43118"/>
                    <a:gd name="connsiteY0" fmla="*/ 17318 h 31232"/>
                    <a:gd name="connsiteX1" fmla="*/ 15200 w 43118"/>
                    <a:gd name="connsiteY1" fmla="*/ 31232 h 31232"/>
                    <a:gd name="connsiteX2" fmla="*/ 929 w 43118"/>
                    <a:gd name="connsiteY2" fmla="*/ 17232 h 31232"/>
                    <a:gd name="connsiteX3" fmla="*/ 7152 w 43118"/>
                    <a:gd name="connsiteY3" fmla="*/ 0 h 31232"/>
                    <a:gd name="connsiteX4" fmla="*/ 21630 w 43118"/>
                    <a:gd name="connsiteY4" fmla="*/ 0 h 31232"/>
                    <a:gd name="connsiteX5" fmla="*/ 15283 w 43118"/>
                    <a:gd name="connsiteY5" fmla="*/ 17749 h 31232"/>
                    <a:gd name="connsiteX6" fmla="*/ 17564 w 43118"/>
                    <a:gd name="connsiteY6" fmla="*/ 22100 h 31232"/>
                    <a:gd name="connsiteX7" fmla="*/ 22293 w 43118"/>
                    <a:gd name="connsiteY7" fmla="*/ 17792 h 31232"/>
                    <a:gd name="connsiteX8" fmla="*/ 28640 w 43118"/>
                    <a:gd name="connsiteY8" fmla="*/ 0 h 31232"/>
                    <a:gd name="connsiteX9" fmla="*/ 43118 w 43118"/>
                    <a:gd name="connsiteY9" fmla="*/ 0 h 31232"/>
                    <a:gd name="connsiteX10" fmla="*/ 36937 w 43118"/>
                    <a:gd name="connsiteY10" fmla="*/ 17318 h 31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3118" h="31232">
                      <a:moveTo>
                        <a:pt x="36937" y="17318"/>
                      </a:moveTo>
                      <a:cubicBezTo>
                        <a:pt x="33162" y="27915"/>
                        <a:pt x="27064" y="31232"/>
                        <a:pt x="15200" y="31232"/>
                      </a:cubicBezTo>
                      <a:cubicBezTo>
                        <a:pt x="2506" y="31232"/>
                        <a:pt x="-2182" y="25891"/>
                        <a:pt x="929" y="17232"/>
                      </a:cubicBezTo>
                      <a:lnTo>
                        <a:pt x="7152" y="0"/>
                      </a:lnTo>
                      <a:lnTo>
                        <a:pt x="21630" y="0"/>
                      </a:lnTo>
                      <a:lnTo>
                        <a:pt x="15283" y="17749"/>
                      </a:lnTo>
                      <a:cubicBezTo>
                        <a:pt x="14163" y="20807"/>
                        <a:pt x="15200" y="22100"/>
                        <a:pt x="17564" y="22100"/>
                      </a:cubicBezTo>
                      <a:cubicBezTo>
                        <a:pt x="19514" y="22100"/>
                        <a:pt x="21007" y="21324"/>
                        <a:pt x="22293" y="17792"/>
                      </a:cubicBezTo>
                      <a:lnTo>
                        <a:pt x="28640" y="0"/>
                      </a:lnTo>
                      <a:lnTo>
                        <a:pt x="43118" y="0"/>
                      </a:lnTo>
                      <a:lnTo>
                        <a:pt x="36937" y="17318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77" name="Freeform: Shape 576">
                  <a:extLst>
                    <a:ext uri="{FF2B5EF4-FFF2-40B4-BE49-F238E27FC236}">
                      <a16:creationId xmlns:a16="http://schemas.microsoft.com/office/drawing/2014/main" id="{11C26389-1858-41D0-9F76-3B711191927B}"/>
                    </a:ext>
                  </a:extLst>
                </p:cNvPr>
                <p:cNvSpPr/>
                <p:nvPr/>
              </p:nvSpPr>
              <p:spPr>
                <a:xfrm>
                  <a:off x="3121563" y="2760930"/>
                  <a:ext cx="25346" cy="30370"/>
                </a:xfrm>
                <a:custGeom>
                  <a:avLst/>
                  <a:gdLst>
                    <a:gd name="connsiteX0" fmla="*/ 0 w 25346"/>
                    <a:gd name="connsiteY0" fmla="*/ 30371 h 30370"/>
                    <a:gd name="connsiteX1" fmla="*/ 10869 w 25346"/>
                    <a:gd name="connsiteY1" fmla="*/ 0 h 30370"/>
                    <a:gd name="connsiteX2" fmla="*/ 25346 w 25346"/>
                    <a:gd name="connsiteY2" fmla="*/ 0 h 30370"/>
                    <a:gd name="connsiteX3" fmla="*/ 14478 w 25346"/>
                    <a:gd name="connsiteY3" fmla="*/ 30371 h 30370"/>
                    <a:gd name="connsiteX4" fmla="*/ 0 w 25346"/>
                    <a:gd name="connsiteY4" fmla="*/ 303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346" h="30370">
                      <a:moveTo>
                        <a:pt x="0" y="30371"/>
                      </a:moveTo>
                      <a:lnTo>
                        <a:pt x="10869" y="0"/>
                      </a:lnTo>
                      <a:lnTo>
                        <a:pt x="25346" y="0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78" name="Freeform: Shape 577">
                  <a:extLst>
                    <a:ext uri="{FF2B5EF4-FFF2-40B4-BE49-F238E27FC236}">
                      <a16:creationId xmlns:a16="http://schemas.microsoft.com/office/drawing/2014/main" id="{52C6DD39-3500-48B6-B5ED-8908717CD3C6}"/>
                    </a:ext>
                  </a:extLst>
                </p:cNvPr>
                <p:cNvSpPr/>
                <p:nvPr/>
              </p:nvSpPr>
              <p:spPr>
                <a:xfrm>
                  <a:off x="3141932" y="2760930"/>
                  <a:ext cx="31569" cy="30370"/>
                </a:xfrm>
                <a:custGeom>
                  <a:avLst/>
                  <a:gdLst>
                    <a:gd name="connsiteX0" fmla="*/ 10827 w 31569"/>
                    <a:gd name="connsiteY0" fmla="*/ 0 h 30370"/>
                    <a:gd name="connsiteX1" fmla="*/ 25305 w 31569"/>
                    <a:gd name="connsiteY1" fmla="*/ 0 h 30370"/>
                    <a:gd name="connsiteX2" fmla="*/ 17713 w 31569"/>
                    <a:gd name="connsiteY2" fmla="*/ 21281 h 30370"/>
                    <a:gd name="connsiteX3" fmla="*/ 31569 w 31569"/>
                    <a:gd name="connsiteY3" fmla="*/ 21281 h 30370"/>
                    <a:gd name="connsiteX4" fmla="*/ 28292 w 31569"/>
                    <a:gd name="connsiteY4" fmla="*/ 30371 h 30370"/>
                    <a:gd name="connsiteX5" fmla="*/ 0 w 31569"/>
                    <a:gd name="connsiteY5" fmla="*/ 30371 h 30370"/>
                    <a:gd name="connsiteX6" fmla="*/ 10827 w 31569"/>
                    <a:gd name="connsiteY6" fmla="*/ 0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569" h="30370">
                      <a:moveTo>
                        <a:pt x="10827" y="0"/>
                      </a:moveTo>
                      <a:lnTo>
                        <a:pt x="25305" y="0"/>
                      </a:lnTo>
                      <a:lnTo>
                        <a:pt x="17713" y="21281"/>
                      </a:lnTo>
                      <a:lnTo>
                        <a:pt x="31569" y="21281"/>
                      </a:lnTo>
                      <a:lnTo>
                        <a:pt x="28292" y="30371"/>
                      </a:lnTo>
                      <a:lnTo>
                        <a:pt x="0" y="30371"/>
                      </a:lnTo>
                      <a:lnTo>
                        <a:pt x="10827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79" name="Freeform: Shape 578">
                  <a:extLst>
                    <a:ext uri="{FF2B5EF4-FFF2-40B4-BE49-F238E27FC236}">
                      <a16:creationId xmlns:a16="http://schemas.microsoft.com/office/drawing/2014/main" id="{D05C9F14-820A-4413-BFF4-FD59E93E90F8}"/>
                    </a:ext>
                  </a:extLst>
                </p:cNvPr>
                <p:cNvSpPr/>
                <p:nvPr/>
              </p:nvSpPr>
              <p:spPr>
                <a:xfrm>
                  <a:off x="3174330" y="2760930"/>
                  <a:ext cx="43161" cy="30370"/>
                </a:xfrm>
                <a:custGeom>
                  <a:avLst/>
                  <a:gdLst>
                    <a:gd name="connsiteX0" fmla="*/ 10869 w 43161"/>
                    <a:gd name="connsiteY0" fmla="*/ 0 h 30370"/>
                    <a:gd name="connsiteX1" fmla="*/ 26259 w 43161"/>
                    <a:gd name="connsiteY1" fmla="*/ 0 h 30370"/>
                    <a:gd name="connsiteX2" fmla="*/ 41815 w 43161"/>
                    <a:gd name="connsiteY2" fmla="*/ 17490 h 30370"/>
                    <a:gd name="connsiteX3" fmla="*/ 20700 w 43161"/>
                    <a:gd name="connsiteY3" fmla="*/ 30371 h 30370"/>
                    <a:gd name="connsiteX4" fmla="*/ 0 w 43161"/>
                    <a:gd name="connsiteY4" fmla="*/ 30371 h 30370"/>
                    <a:gd name="connsiteX5" fmla="*/ 10869 w 43161"/>
                    <a:gd name="connsiteY5" fmla="*/ 0 h 30370"/>
                    <a:gd name="connsiteX6" fmla="*/ 22194 w 43161"/>
                    <a:gd name="connsiteY6" fmla="*/ 8702 h 30370"/>
                    <a:gd name="connsiteX7" fmla="*/ 17548 w 43161"/>
                    <a:gd name="connsiteY7" fmla="*/ 21712 h 30370"/>
                    <a:gd name="connsiteX8" fmla="*/ 20700 w 43161"/>
                    <a:gd name="connsiteY8" fmla="*/ 21712 h 30370"/>
                    <a:gd name="connsiteX9" fmla="*/ 28002 w 43161"/>
                    <a:gd name="connsiteY9" fmla="*/ 15465 h 30370"/>
                    <a:gd name="connsiteX10" fmla="*/ 25056 w 43161"/>
                    <a:gd name="connsiteY10" fmla="*/ 8702 h 30370"/>
                    <a:gd name="connsiteX11" fmla="*/ 22194 w 43161"/>
                    <a:gd name="connsiteY11" fmla="*/ 8702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3161" h="30370">
                      <a:moveTo>
                        <a:pt x="10869" y="0"/>
                      </a:moveTo>
                      <a:lnTo>
                        <a:pt x="26259" y="0"/>
                      </a:lnTo>
                      <a:cubicBezTo>
                        <a:pt x="42272" y="0"/>
                        <a:pt x="45425" y="7280"/>
                        <a:pt x="41815" y="17490"/>
                      </a:cubicBezTo>
                      <a:cubicBezTo>
                        <a:pt x="38289" y="27355"/>
                        <a:pt x="30615" y="30371"/>
                        <a:pt x="20700" y="30371"/>
                      </a:cubicBezTo>
                      <a:lnTo>
                        <a:pt x="0" y="30371"/>
                      </a:lnTo>
                      <a:lnTo>
                        <a:pt x="10869" y="0"/>
                      </a:lnTo>
                      <a:close/>
                      <a:moveTo>
                        <a:pt x="22194" y="8702"/>
                      </a:moveTo>
                      <a:lnTo>
                        <a:pt x="17548" y="21712"/>
                      </a:lnTo>
                      <a:lnTo>
                        <a:pt x="20700" y="21712"/>
                      </a:lnTo>
                      <a:cubicBezTo>
                        <a:pt x="24309" y="21712"/>
                        <a:pt x="26384" y="20161"/>
                        <a:pt x="28002" y="15465"/>
                      </a:cubicBezTo>
                      <a:cubicBezTo>
                        <a:pt x="29619" y="10813"/>
                        <a:pt x="29121" y="8702"/>
                        <a:pt x="25056" y="8702"/>
                      </a:cubicBezTo>
                      <a:lnTo>
                        <a:pt x="22194" y="8702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80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3330765" y="2760499"/>
                <a:ext cx="289888" cy="32094"/>
                <a:chOff x="3330765" y="2760499"/>
                <a:chExt cx="289888" cy="32094"/>
              </a:xfrm>
              <a:solidFill>
                <a:srgbClr val="27509B"/>
              </a:solidFill>
            </p:grpSpPr>
            <p:sp>
              <p:nvSpPr>
                <p:cNvPr id="581" name="Freeform: Shape 580">
                  <a:extLst>
                    <a:ext uri="{FF2B5EF4-FFF2-40B4-BE49-F238E27FC236}">
                      <a16:creationId xmlns:a16="http://schemas.microsoft.com/office/drawing/2014/main" id="{19FCD842-9077-4C3B-81D6-02DAE1C9A6E8}"/>
                    </a:ext>
                  </a:extLst>
                </p:cNvPr>
                <p:cNvSpPr/>
                <p:nvPr/>
              </p:nvSpPr>
              <p:spPr>
                <a:xfrm>
                  <a:off x="3330765" y="2761318"/>
                  <a:ext cx="62142" cy="30413"/>
                </a:xfrm>
                <a:custGeom>
                  <a:avLst/>
                  <a:gdLst>
                    <a:gd name="connsiteX0" fmla="*/ 19746 w 62142"/>
                    <a:gd name="connsiteY0" fmla="*/ 9822 h 30413"/>
                    <a:gd name="connsiteX1" fmla="*/ 12404 w 62142"/>
                    <a:gd name="connsiteY1" fmla="*/ 30414 h 30413"/>
                    <a:gd name="connsiteX2" fmla="*/ 0 w 62142"/>
                    <a:gd name="connsiteY2" fmla="*/ 30414 h 30413"/>
                    <a:gd name="connsiteX3" fmla="*/ 10869 w 62142"/>
                    <a:gd name="connsiteY3" fmla="*/ 43 h 30413"/>
                    <a:gd name="connsiteX4" fmla="*/ 26799 w 62142"/>
                    <a:gd name="connsiteY4" fmla="*/ 43 h 30413"/>
                    <a:gd name="connsiteX5" fmla="*/ 31362 w 62142"/>
                    <a:gd name="connsiteY5" fmla="*/ 5816 h 30413"/>
                    <a:gd name="connsiteX6" fmla="*/ 30947 w 62142"/>
                    <a:gd name="connsiteY6" fmla="*/ 14862 h 30413"/>
                    <a:gd name="connsiteX7" fmla="*/ 39990 w 62142"/>
                    <a:gd name="connsiteY7" fmla="*/ 0 h 30413"/>
                    <a:gd name="connsiteX8" fmla="*/ 62143 w 62142"/>
                    <a:gd name="connsiteY8" fmla="*/ 0 h 30413"/>
                    <a:gd name="connsiteX9" fmla="*/ 51315 w 62142"/>
                    <a:gd name="connsiteY9" fmla="*/ 30371 h 30413"/>
                    <a:gd name="connsiteX10" fmla="*/ 36713 w 62142"/>
                    <a:gd name="connsiteY10" fmla="*/ 30371 h 30413"/>
                    <a:gd name="connsiteX11" fmla="*/ 43890 w 62142"/>
                    <a:gd name="connsiteY11" fmla="*/ 10382 h 30413"/>
                    <a:gd name="connsiteX12" fmla="*/ 30740 w 62142"/>
                    <a:gd name="connsiteY12" fmla="*/ 30371 h 30413"/>
                    <a:gd name="connsiteX13" fmla="*/ 18709 w 62142"/>
                    <a:gd name="connsiteY13" fmla="*/ 30371 h 30413"/>
                    <a:gd name="connsiteX14" fmla="*/ 19746 w 62142"/>
                    <a:gd name="connsiteY14" fmla="*/ 9822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142" h="30413">
                      <a:moveTo>
                        <a:pt x="19746" y="9822"/>
                      </a:moveTo>
                      <a:lnTo>
                        <a:pt x="12404" y="30414"/>
                      </a:lnTo>
                      <a:lnTo>
                        <a:pt x="0" y="30414"/>
                      </a:lnTo>
                      <a:lnTo>
                        <a:pt x="10869" y="43"/>
                      </a:lnTo>
                      <a:lnTo>
                        <a:pt x="26799" y="43"/>
                      </a:lnTo>
                      <a:cubicBezTo>
                        <a:pt x="30491" y="43"/>
                        <a:pt x="31486" y="2111"/>
                        <a:pt x="31362" y="5816"/>
                      </a:cubicBezTo>
                      <a:lnTo>
                        <a:pt x="30947" y="14862"/>
                      </a:lnTo>
                      <a:lnTo>
                        <a:pt x="39990" y="0"/>
                      </a:lnTo>
                      <a:lnTo>
                        <a:pt x="62143" y="0"/>
                      </a:lnTo>
                      <a:lnTo>
                        <a:pt x="51315" y="30371"/>
                      </a:lnTo>
                      <a:lnTo>
                        <a:pt x="36713" y="30371"/>
                      </a:lnTo>
                      <a:lnTo>
                        <a:pt x="43890" y="10382"/>
                      </a:lnTo>
                      <a:lnTo>
                        <a:pt x="30740" y="30371"/>
                      </a:lnTo>
                      <a:lnTo>
                        <a:pt x="18709" y="30371"/>
                      </a:lnTo>
                      <a:lnTo>
                        <a:pt x="19746" y="9822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82" name="Freeform: Shape 581">
                  <a:extLst>
                    <a:ext uri="{FF2B5EF4-FFF2-40B4-BE49-F238E27FC236}">
                      <a16:creationId xmlns:a16="http://schemas.microsoft.com/office/drawing/2014/main" id="{FA843CEB-B0C1-48CA-B691-EFE3AA45E6BC}"/>
                    </a:ext>
                  </a:extLst>
                </p:cNvPr>
                <p:cNvSpPr/>
                <p:nvPr/>
              </p:nvSpPr>
              <p:spPr>
                <a:xfrm>
                  <a:off x="3387930" y="2761361"/>
                  <a:ext cx="41317" cy="30413"/>
                </a:xfrm>
                <a:custGeom>
                  <a:avLst/>
                  <a:gdLst>
                    <a:gd name="connsiteX0" fmla="*/ 10869 w 41317"/>
                    <a:gd name="connsiteY0" fmla="*/ 0 h 30413"/>
                    <a:gd name="connsiteX1" fmla="*/ 41318 w 41317"/>
                    <a:gd name="connsiteY1" fmla="*/ 0 h 30413"/>
                    <a:gd name="connsiteX2" fmla="*/ 38372 w 41317"/>
                    <a:gd name="connsiteY2" fmla="*/ 8271 h 30413"/>
                    <a:gd name="connsiteX3" fmla="*/ 22360 w 41317"/>
                    <a:gd name="connsiteY3" fmla="*/ 8271 h 30413"/>
                    <a:gd name="connsiteX4" fmla="*/ 21364 w 41317"/>
                    <a:gd name="connsiteY4" fmla="*/ 11028 h 30413"/>
                    <a:gd name="connsiteX5" fmla="*/ 35800 w 41317"/>
                    <a:gd name="connsiteY5" fmla="*/ 11028 h 30413"/>
                    <a:gd name="connsiteX6" fmla="*/ 32772 w 41317"/>
                    <a:gd name="connsiteY6" fmla="*/ 19300 h 30413"/>
                    <a:gd name="connsiteX7" fmla="*/ 18419 w 41317"/>
                    <a:gd name="connsiteY7" fmla="*/ 19300 h 30413"/>
                    <a:gd name="connsiteX8" fmla="*/ 17382 w 41317"/>
                    <a:gd name="connsiteY8" fmla="*/ 22143 h 30413"/>
                    <a:gd name="connsiteX9" fmla="*/ 33394 w 41317"/>
                    <a:gd name="connsiteY9" fmla="*/ 22143 h 30413"/>
                    <a:gd name="connsiteX10" fmla="*/ 30449 w 41317"/>
                    <a:gd name="connsiteY10" fmla="*/ 30414 h 30413"/>
                    <a:gd name="connsiteX11" fmla="*/ 0 w 41317"/>
                    <a:gd name="connsiteY11" fmla="*/ 30414 h 30413"/>
                    <a:gd name="connsiteX12" fmla="*/ 10869 w 41317"/>
                    <a:gd name="connsiteY12" fmla="*/ 0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317" h="30413">
                      <a:moveTo>
                        <a:pt x="10869" y="0"/>
                      </a:moveTo>
                      <a:lnTo>
                        <a:pt x="41318" y="0"/>
                      </a:lnTo>
                      <a:lnTo>
                        <a:pt x="38372" y="8271"/>
                      </a:lnTo>
                      <a:lnTo>
                        <a:pt x="22360" y="8271"/>
                      </a:lnTo>
                      <a:lnTo>
                        <a:pt x="21364" y="11028"/>
                      </a:lnTo>
                      <a:lnTo>
                        <a:pt x="35800" y="11028"/>
                      </a:lnTo>
                      <a:lnTo>
                        <a:pt x="32772" y="19300"/>
                      </a:lnTo>
                      <a:lnTo>
                        <a:pt x="18419" y="19300"/>
                      </a:lnTo>
                      <a:lnTo>
                        <a:pt x="17382" y="22143"/>
                      </a:lnTo>
                      <a:lnTo>
                        <a:pt x="33394" y="22143"/>
                      </a:lnTo>
                      <a:lnTo>
                        <a:pt x="30449" y="30414"/>
                      </a:lnTo>
                      <a:lnTo>
                        <a:pt x="0" y="30414"/>
                      </a:lnTo>
                      <a:lnTo>
                        <a:pt x="10869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83" name="Freeform: Shape 582">
                  <a:extLst>
                    <a:ext uri="{FF2B5EF4-FFF2-40B4-BE49-F238E27FC236}">
                      <a16:creationId xmlns:a16="http://schemas.microsoft.com/office/drawing/2014/main" id="{800F5961-1298-4ACA-9DBE-13570345E377}"/>
                    </a:ext>
                  </a:extLst>
                </p:cNvPr>
                <p:cNvSpPr/>
                <p:nvPr/>
              </p:nvSpPr>
              <p:spPr>
                <a:xfrm>
                  <a:off x="3421283" y="2761361"/>
                  <a:ext cx="42438" cy="30370"/>
                </a:xfrm>
                <a:custGeom>
                  <a:avLst/>
                  <a:gdLst>
                    <a:gd name="connsiteX0" fmla="*/ 28375 w 42438"/>
                    <a:gd name="connsiteY0" fmla="*/ 26063 h 30370"/>
                    <a:gd name="connsiteX1" fmla="*/ 17506 w 42438"/>
                    <a:gd name="connsiteY1" fmla="*/ 26063 h 30370"/>
                    <a:gd name="connsiteX2" fmla="*/ 14851 w 42438"/>
                    <a:gd name="connsiteY2" fmla="*/ 30371 h 30370"/>
                    <a:gd name="connsiteX3" fmla="*/ 0 w 42438"/>
                    <a:gd name="connsiteY3" fmla="*/ 30371 h 30370"/>
                    <a:gd name="connsiteX4" fmla="*/ 17382 w 42438"/>
                    <a:gd name="connsiteY4" fmla="*/ 4696 h 30370"/>
                    <a:gd name="connsiteX5" fmla="*/ 25430 w 42438"/>
                    <a:gd name="connsiteY5" fmla="*/ 0 h 30370"/>
                    <a:gd name="connsiteX6" fmla="*/ 42438 w 42438"/>
                    <a:gd name="connsiteY6" fmla="*/ 0 h 30370"/>
                    <a:gd name="connsiteX7" fmla="*/ 41608 w 42438"/>
                    <a:gd name="connsiteY7" fmla="*/ 30371 h 30370"/>
                    <a:gd name="connsiteX8" fmla="*/ 28126 w 42438"/>
                    <a:gd name="connsiteY8" fmla="*/ 30371 h 30370"/>
                    <a:gd name="connsiteX9" fmla="*/ 28375 w 42438"/>
                    <a:gd name="connsiteY9" fmla="*/ 26063 h 30370"/>
                    <a:gd name="connsiteX10" fmla="*/ 29412 w 42438"/>
                    <a:gd name="connsiteY10" fmla="*/ 6979 h 30370"/>
                    <a:gd name="connsiteX11" fmla="*/ 22941 w 42438"/>
                    <a:gd name="connsiteY11" fmla="*/ 17404 h 30370"/>
                    <a:gd name="connsiteX12" fmla="*/ 28831 w 42438"/>
                    <a:gd name="connsiteY12" fmla="*/ 17404 h 30370"/>
                    <a:gd name="connsiteX13" fmla="*/ 29412 w 42438"/>
                    <a:gd name="connsiteY13" fmla="*/ 6979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2438" h="30370">
                      <a:moveTo>
                        <a:pt x="28375" y="26063"/>
                      </a:moveTo>
                      <a:lnTo>
                        <a:pt x="17506" y="26063"/>
                      </a:lnTo>
                      <a:lnTo>
                        <a:pt x="14851" y="30371"/>
                      </a:lnTo>
                      <a:lnTo>
                        <a:pt x="0" y="30371"/>
                      </a:lnTo>
                      <a:lnTo>
                        <a:pt x="17382" y="4696"/>
                      </a:lnTo>
                      <a:cubicBezTo>
                        <a:pt x="19663" y="1335"/>
                        <a:pt x="21904" y="0"/>
                        <a:pt x="25430" y="0"/>
                      </a:cubicBezTo>
                      <a:lnTo>
                        <a:pt x="42438" y="0"/>
                      </a:lnTo>
                      <a:lnTo>
                        <a:pt x="41608" y="30371"/>
                      </a:lnTo>
                      <a:lnTo>
                        <a:pt x="28126" y="30371"/>
                      </a:lnTo>
                      <a:lnTo>
                        <a:pt x="28375" y="26063"/>
                      </a:lnTo>
                      <a:close/>
                      <a:moveTo>
                        <a:pt x="29412" y="6979"/>
                      </a:moveTo>
                      <a:lnTo>
                        <a:pt x="22941" y="17404"/>
                      </a:lnTo>
                      <a:lnTo>
                        <a:pt x="28831" y="17404"/>
                      </a:lnTo>
                      <a:lnTo>
                        <a:pt x="29412" y="6979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84" name="Freeform: Shape 583">
                  <a:extLst>
                    <a:ext uri="{FF2B5EF4-FFF2-40B4-BE49-F238E27FC236}">
                      <a16:creationId xmlns:a16="http://schemas.microsoft.com/office/drawing/2014/main" id="{949AC4C7-3DCF-4A41-8871-1E7BC3EE4D7B}"/>
                    </a:ext>
                  </a:extLst>
                </p:cNvPr>
                <p:cNvSpPr/>
                <p:nvPr/>
              </p:nvSpPr>
              <p:spPr>
                <a:xfrm>
                  <a:off x="3465546" y="2760499"/>
                  <a:ext cx="38206" cy="32052"/>
                </a:xfrm>
                <a:custGeom>
                  <a:avLst/>
                  <a:gdLst>
                    <a:gd name="connsiteX0" fmla="*/ 0 w 38206"/>
                    <a:gd name="connsiteY0" fmla="*/ 29811 h 32052"/>
                    <a:gd name="connsiteX1" fmla="*/ 2945 w 38206"/>
                    <a:gd name="connsiteY1" fmla="*/ 21669 h 32052"/>
                    <a:gd name="connsiteX2" fmla="*/ 13690 w 38206"/>
                    <a:gd name="connsiteY2" fmla="*/ 23651 h 32052"/>
                    <a:gd name="connsiteX3" fmla="*/ 19248 w 38206"/>
                    <a:gd name="connsiteY3" fmla="*/ 22272 h 32052"/>
                    <a:gd name="connsiteX4" fmla="*/ 18336 w 38206"/>
                    <a:gd name="connsiteY4" fmla="*/ 20549 h 32052"/>
                    <a:gd name="connsiteX5" fmla="*/ 14187 w 38206"/>
                    <a:gd name="connsiteY5" fmla="*/ 19903 h 32052"/>
                    <a:gd name="connsiteX6" fmla="*/ 6388 w 38206"/>
                    <a:gd name="connsiteY6" fmla="*/ 8831 h 32052"/>
                    <a:gd name="connsiteX7" fmla="*/ 24226 w 38206"/>
                    <a:gd name="connsiteY7" fmla="*/ 0 h 32052"/>
                    <a:gd name="connsiteX8" fmla="*/ 38206 w 38206"/>
                    <a:gd name="connsiteY8" fmla="*/ 2154 h 32052"/>
                    <a:gd name="connsiteX9" fmla="*/ 35302 w 38206"/>
                    <a:gd name="connsiteY9" fmla="*/ 10296 h 32052"/>
                    <a:gd name="connsiteX10" fmla="*/ 24931 w 38206"/>
                    <a:gd name="connsiteY10" fmla="*/ 8444 h 32052"/>
                    <a:gd name="connsiteX11" fmla="*/ 20285 w 38206"/>
                    <a:gd name="connsiteY11" fmla="*/ 9650 h 32052"/>
                    <a:gd name="connsiteX12" fmla="*/ 21115 w 38206"/>
                    <a:gd name="connsiteY12" fmla="*/ 11115 h 32052"/>
                    <a:gd name="connsiteX13" fmla="*/ 25263 w 38206"/>
                    <a:gd name="connsiteY13" fmla="*/ 11761 h 32052"/>
                    <a:gd name="connsiteX14" fmla="*/ 33021 w 38206"/>
                    <a:gd name="connsiteY14" fmla="*/ 23349 h 32052"/>
                    <a:gd name="connsiteX15" fmla="*/ 15349 w 38206"/>
                    <a:gd name="connsiteY15" fmla="*/ 32051 h 32052"/>
                    <a:gd name="connsiteX16" fmla="*/ 0 w 38206"/>
                    <a:gd name="connsiteY16" fmla="*/ 29811 h 320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8206" h="32052">
                      <a:moveTo>
                        <a:pt x="0" y="29811"/>
                      </a:moveTo>
                      <a:lnTo>
                        <a:pt x="2945" y="21669"/>
                      </a:lnTo>
                      <a:cubicBezTo>
                        <a:pt x="5476" y="22703"/>
                        <a:pt x="10122" y="23651"/>
                        <a:pt x="13690" y="23651"/>
                      </a:cubicBezTo>
                      <a:cubicBezTo>
                        <a:pt x="17589" y="23651"/>
                        <a:pt x="18709" y="23435"/>
                        <a:pt x="19248" y="22272"/>
                      </a:cubicBezTo>
                      <a:cubicBezTo>
                        <a:pt x="19705" y="21195"/>
                        <a:pt x="19124" y="20678"/>
                        <a:pt x="18336" y="20549"/>
                      </a:cubicBezTo>
                      <a:lnTo>
                        <a:pt x="14187" y="19903"/>
                      </a:lnTo>
                      <a:cubicBezTo>
                        <a:pt x="5973" y="18653"/>
                        <a:pt x="4397" y="14518"/>
                        <a:pt x="6388" y="8831"/>
                      </a:cubicBezTo>
                      <a:cubicBezTo>
                        <a:pt x="8711" y="2283"/>
                        <a:pt x="15100" y="0"/>
                        <a:pt x="24226" y="0"/>
                      </a:cubicBezTo>
                      <a:cubicBezTo>
                        <a:pt x="30200" y="0"/>
                        <a:pt x="34307" y="732"/>
                        <a:pt x="38206" y="2154"/>
                      </a:cubicBezTo>
                      <a:lnTo>
                        <a:pt x="35302" y="10296"/>
                      </a:lnTo>
                      <a:cubicBezTo>
                        <a:pt x="33021" y="9391"/>
                        <a:pt x="28873" y="8444"/>
                        <a:pt x="24931" y="8444"/>
                      </a:cubicBezTo>
                      <a:cubicBezTo>
                        <a:pt x="21820" y="8444"/>
                        <a:pt x="20659" y="8616"/>
                        <a:pt x="20285" y="9650"/>
                      </a:cubicBezTo>
                      <a:cubicBezTo>
                        <a:pt x="19912" y="10684"/>
                        <a:pt x="20327" y="10985"/>
                        <a:pt x="21115" y="11115"/>
                      </a:cubicBezTo>
                      <a:lnTo>
                        <a:pt x="25263" y="11761"/>
                      </a:lnTo>
                      <a:cubicBezTo>
                        <a:pt x="33602" y="13010"/>
                        <a:pt x="35261" y="17447"/>
                        <a:pt x="33021" y="23349"/>
                      </a:cubicBezTo>
                      <a:cubicBezTo>
                        <a:pt x="30490" y="30112"/>
                        <a:pt x="24351" y="32051"/>
                        <a:pt x="15349" y="32051"/>
                      </a:cubicBezTo>
                      <a:cubicBezTo>
                        <a:pt x="8711" y="32094"/>
                        <a:pt x="4190" y="31362"/>
                        <a:pt x="0" y="29811"/>
                      </a:cubicBez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85" name="Freeform: Shape 584">
                  <a:extLst>
                    <a:ext uri="{FF2B5EF4-FFF2-40B4-BE49-F238E27FC236}">
                      <a16:creationId xmlns:a16="http://schemas.microsoft.com/office/drawing/2014/main" id="{B740EE12-0D4D-4B50-99CB-2195C6390257}"/>
                    </a:ext>
                  </a:extLst>
                </p:cNvPr>
                <p:cNvSpPr/>
                <p:nvPr/>
              </p:nvSpPr>
              <p:spPr>
                <a:xfrm>
                  <a:off x="3502201" y="2761361"/>
                  <a:ext cx="43118" cy="31232"/>
                </a:xfrm>
                <a:custGeom>
                  <a:avLst/>
                  <a:gdLst>
                    <a:gd name="connsiteX0" fmla="*/ 36937 w 43118"/>
                    <a:gd name="connsiteY0" fmla="*/ 17318 h 31232"/>
                    <a:gd name="connsiteX1" fmla="*/ 15200 w 43118"/>
                    <a:gd name="connsiteY1" fmla="*/ 31232 h 31232"/>
                    <a:gd name="connsiteX2" fmla="*/ 929 w 43118"/>
                    <a:gd name="connsiteY2" fmla="*/ 17232 h 31232"/>
                    <a:gd name="connsiteX3" fmla="*/ 7152 w 43118"/>
                    <a:gd name="connsiteY3" fmla="*/ 0 h 31232"/>
                    <a:gd name="connsiteX4" fmla="*/ 21630 w 43118"/>
                    <a:gd name="connsiteY4" fmla="*/ 0 h 31232"/>
                    <a:gd name="connsiteX5" fmla="*/ 15282 w 43118"/>
                    <a:gd name="connsiteY5" fmla="*/ 17749 h 31232"/>
                    <a:gd name="connsiteX6" fmla="*/ 17564 w 43118"/>
                    <a:gd name="connsiteY6" fmla="*/ 22100 h 31232"/>
                    <a:gd name="connsiteX7" fmla="*/ 22293 w 43118"/>
                    <a:gd name="connsiteY7" fmla="*/ 17792 h 31232"/>
                    <a:gd name="connsiteX8" fmla="*/ 28640 w 43118"/>
                    <a:gd name="connsiteY8" fmla="*/ 0 h 31232"/>
                    <a:gd name="connsiteX9" fmla="*/ 43118 w 43118"/>
                    <a:gd name="connsiteY9" fmla="*/ 0 h 31232"/>
                    <a:gd name="connsiteX10" fmla="*/ 36937 w 43118"/>
                    <a:gd name="connsiteY10" fmla="*/ 17318 h 31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3118" h="31232">
                      <a:moveTo>
                        <a:pt x="36937" y="17318"/>
                      </a:moveTo>
                      <a:cubicBezTo>
                        <a:pt x="33162" y="27915"/>
                        <a:pt x="27064" y="31232"/>
                        <a:pt x="15200" y="31232"/>
                      </a:cubicBezTo>
                      <a:cubicBezTo>
                        <a:pt x="2505" y="31232"/>
                        <a:pt x="-2182" y="25891"/>
                        <a:pt x="929" y="17232"/>
                      </a:cubicBezTo>
                      <a:lnTo>
                        <a:pt x="7152" y="0"/>
                      </a:lnTo>
                      <a:lnTo>
                        <a:pt x="21630" y="0"/>
                      </a:lnTo>
                      <a:lnTo>
                        <a:pt x="15282" y="17749"/>
                      </a:lnTo>
                      <a:cubicBezTo>
                        <a:pt x="14163" y="20807"/>
                        <a:pt x="15200" y="22100"/>
                        <a:pt x="17564" y="22100"/>
                      </a:cubicBezTo>
                      <a:cubicBezTo>
                        <a:pt x="19514" y="22100"/>
                        <a:pt x="21007" y="21324"/>
                        <a:pt x="22293" y="17792"/>
                      </a:cubicBezTo>
                      <a:lnTo>
                        <a:pt x="28640" y="0"/>
                      </a:lnTo>
                      <a:lnTo>
                        <a:pt x="43118" y="0"/>
                      </a:lnTo>
                      <a:lnTo>
                        <a:pt x="36937" y="17318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86" name="Freeform: Shape 585">
                  <a:extLst>
                    <a:ext uri="{FF2B5EF4-FFF2-40B4-BE49-F238E27FC236}">
                      <a16:creationId xmlns:a16="http://schemas.microsoft.com/office/drawing/2014/main" id="{AD1301AF-1014-4873-B906-3E02F79A94F3}"/>
                    </a:ext>
                  </a:extLst>
                </p:cNvPr>
                <p:cNvSpPr/>
                <p:nvPr/>
              </p:nvSpPr>
              <p:spPr>
                <a:xfrm>
                  <a:off x="3539429" y="2761361"/>
                  <a:ext cx="42592" cy="30370"/>
                </a:xfrm>
                <a:custGeom>
                  <a:avLst/>
                  <a:gdLst>
                    <a:gd name="connsiteX0" fmla="*/ 18834 w 42592"/>
                    <a:gd name="connsiteY0" fmla="*/ 22358 h 30370"/>
                    <a:gd name="connsiteX1" fmla="*/ 17340 w 42592"/>
                    <a:gd name="connsiteY1" fmla="*/ 22358 h 30370"/>
                    <a:gd name="connsiteX2" fmla="*/ 14478 w 42592"/>
                    <a:gd name="connsiteY2" fmla="*/ 30371 h 30370"/>
                    <a:gd name="connsiteX3" fmla="*/ 0 w 42592"/>
                    <a:gd name="connsiteY3" fmla="*/ 30371 h 30370"/>
                    <a:gd name="connsiteX4" fmla="*/ 10869 w 42592"/>
                    <a:gd name="connsiteY4" fmla="*/ 0 h 30370"/>
                    <a:gd name="connsiteX5" fmla="*/ 28665 w 42592"/>
                    <a:gd name="connsiteY5" fmla="*/ 0 h 30370"/>
                    <a:gd name="connsiteX6" fmla="*/ 41691 w 42592"/>
                    <a:gd name="connsiteY6" fmla="*/ 12881 h 30370"/>
                    <a:gd name="connsiteX7" fmla="*/ 31942 w 42592"/>
                    <a:gd name="connsiteY7" fmla="*/ 20161 h 30370"/>
                    <a:gd name="connsiteX8" fmla="*/ 36588 w 42592"/>
                    <a:gd name="connsiteY8" fmla="*/ 30371 h 30370"/>
                    <a:gd name="connsiteX9" fmla="*/ 21696 w 42592"/>
                    <a:gd name="connsiteY9" fmla="*/ 30371 h 30370"/>
                    <a:gd name="connsiteX10" fmla="*/ 18834 w 42592"/>
                    <a:gd name="connsiteY10" fmla="*/ 22358 h 30370"/>
                    <a:gd name="connsiteX11" fmla="*/ 22401 w 42592"/>
                    <a:gd name="connsiteY11" fmla="*/ 8271 h 30370"/>
                    <a:gd name="connsiteX12" fmla="*/ 20285 w 42592"/>
                    <a:gd name="connsiteY12" fmla="*/ 14087 h 30370"/>
                    <a:gd name="connsiteX13" fmla="*/ 22069 w 42592"/>
                    <a:gd name="connsiteY13" fmla="*/ 14087 h 30370"/>
                    <a:gd name="connsiteX14" fmla="*/ 27421 w 42592"/>
                    <a:gd name="connsiteY14" fmla="*/ 11416 h 30370"/>
                    <a:gd name="connsiteX15" fmla="*/ 24641 w 42592"/>
                    <a:gd name="connsiteY15" fmla="*/ 8271 h 30370"/>
                    <a:gd name="connsiteX16" fmla="*/ 22401 w 42592"/>
                    <a:gd name="connsiteY16" fmla="*/ 82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2592" h="30370">
                      <a:moveTo>
                        <a:pt x="18834" y="22358"/>
                      </a:moveTo>
                      <a:lnTo>
                        <a:pt x="17340" y="22358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8665" y="0"/>
                      </a:lnTo>
                      <a:cubicBezTo>
                        <a:pt x="40861" y="0"/>
                        <a:pt x="44512" y="4868"/>
                        <a:pt x="41691" y="12881"/>
                      </a:cubicBezTo>
                      <a:cubicBezTo>
                        <a:pt x="40073" y="17447"/>
                        <a:pt x="36920" y="19386"/>
                        <a:pt x="31942" y="20161"/>
                      </a:cubicBezTo>
                      <a:lnTo>
                        <a:pt x="36588" y="30371"/>
                      </a:lnTo>
                      <a:lnTo>
                        <a:pt x="21696" y="30371"/>
                      </a:lnTo>
                      <a:lnTo>
                        <a:pt x="18834" y="22358"/>
                      </a:lnTo>
                      <a:close/>
                      <a:moveTo>
                        <a:pt x="22401" y="8271"/>
                      </a:moveTo>
                      <a:lnTo>
                        <a:pt x="20285" y="14087"/>
                      </a:lnTo>
                      <a:lnTo>
                        <a:pt x="22069" y="14087"/>
                      </a:lnTo>
                      <a:cubicBezTo>
                        <a:pt x="25222" y="14087"/>
                        <a:pt x="26508" y="13958"/>
                        <a:pt x="27421" y="11416"/>
                      </a:cubicBezTo>
                      <a:cubicBezTo>
                        <a:pt x="28084" y="9650"/>
                        <a:pt x="27918" y="8271"/>
                        <a:pt x="24641" y="8271"/>
                      </a:cubicBezTo>
                      <a:lnTo>
                        <a:pt x="22401" y="82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87" name="Freeform: Shape 586">
                  <a:extLst>
                    <a:ext uri="{FF2B5EF4-FFF2-40B4-BE49-F238E27FC236}">
                      <a16:creationId xmlns:a16="http://schemas.microsoft.com/office/drawing/2014/main" id="{6916FF10-FA89-4BCF-BC48-CB1594C32560}"/>
                    </a:ext>
                  </a:extLst>
                </p:cNvPr>
                <p:cNvSpPr/>
                <p:nvPr/>
              </p:nvSpPr>
              <p:spPr>
                <a:xfrm>
                  <a:off x="3579336" y="2761361"/>
                  <a:ext cx="41317" cy="30413"/>
                </a:xfrm>
                <a:custGeom>
                  <a:avLst/>
                  <a:gdLst>
                    <a:gd name="connsiteX0" fmla="*/ 10869 w 41317"/>
                    <a:gd name="connsiteY0" fmla="*/ 0 h 30413"/>
                    <a:gd name="connsiteX1" fmla="*/ 41318 w 41317"/>
                    <a:gd name="connsiteY1" fmla="*/ 0 h 30413"/>
                    <a:gd name="connsiteX2" fmla="*/ 38372 w 41317"/>
                    <a:gd name="connsiteY2" fmla="*/ 8271 h 30413"/>
                    <a:gd name="connsiteX3" fmla="*/ 22360 w 41317"/>
                    <a:gd name="connsiteY3" fmla="*/ 8271 h 30413"/>
                    <a:gd name="connsiteX4" fmla="*/ 21364 w 41317"/>
                    <a:gd name="connsiteY4" fmla="*/ 11028 h 30413"/>
                    <a:gd name="connsiteX5" fmla="*/ 35800 w 41317"/>
                    <a:gd name="connsiteY5" fmla="*/ 11028 h 30413"/>
                    <a:gd name="connsiteX6" fmla="*/ 32772 w 41317"/>
                    <a:gd name="connsiteY6" fmla="*/ 19300 h 30413"/>
                    <a:gd name="connsiteX7" fmla="*/ 18419 w 41317"/>
                    <a:gd name="connsiteY7" fmla="*/ 19300 h 30413"/>
                    <a:gd name="connsiteX8" fmla="*/ 17382 w 41317"/>
                    <a:gd name="connsiteY8" fmla="*/ 22143 h 30413"/>
                    <a:gd name="connsiteX9" fmla="*/ 33394 w 41317"/>
                    <a:gd name="connsiteY9" fmla="*/ 22143 h 30413"/>
                    <a:gd name="connsiteX10" fmla="*/ 30449 w 41317"/>
                    <a:gd name="connsiteY10" fmla="*/ 30414 h 30413"/>
                    <a:gd name="connsiteX11" fmla="*/ 0 w 41317"/>
                    <a:gd name="connsiteY11" fmla="*/ 30414 h 30413"/>
                    <a:gd name="connsiteX12" fmla="*/ 10869 w 41317"/>
                    <a:gd name="connsiteY12" fmla="*/ 0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317" h="30413">
                      <a:moveTo>
                        <a:pt x="10869" y="0"/>
                      </a:moveTo>
                      <a:lnTo>
                        <a:pt x="41318" y="0"/>
                      </a:lnTo>
                      <a:lnTo>
                        <a:pt x="38372" y="8271"/>
                      </a:lnTo>
                      <a:lnTo>
                        <a:pt x="22360" y="8271"/>
                      </a:lnTo>
                      <a:lnTo>
                        <a:pt x="21364" y="11028"/>
                      </a:lnTo>
                      <a:lnTo>
                        <a:pt x="35800" y="11028"/>
                      </a:lnTo>
                      <a:lnTo>
                        <a:pt x="32772" y="19300"/>
                      </a:lnTo>
                      <a:lnTo>
                        <a:pt x="18419" y="19300"/>
                      </a:lnTo>
                      <a:lnTo>
                        <a:pt x="17382" y="22143"/>
                      </a:lnTo>
                      <a:lnTo>
                        <a:pt x="33394" y="22143"/>
                      </a:lnTo>
                      <a:lnTo>
                        <a:pt x="30449" y="30414"/>
                      </a:lnTo>
                      <a:lnTo>
                        <a:pt x="0" y="30414"/>
                      </a:lnTo>
                      <a:lnTo>
                        <a:pt x="10869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88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3721376" y="2761318"/>
                <a:ext cx="200656" cy="30457"/>
                <a:chOff x="3721376" y="2761318"/>
                <a:chExt cx="200656" cy="30457"/>
              </a:xfrm>
              <a:solidFill>
                <a:srgbClr val="27509B"/>
              </a:solidFill>
            </p:grpSpPr>
            <p:sp>
              <p:nvSpPr>
                <p:cNvPr id="589" name="Freeform: Shape 588">
                  <a:extLst>
                    <a:ext uri="{FF2B5EF4-FFF2-40B4-BE49-F238E27FC236}">
                      <a16:creationId xmlns:a16="http://schemas.microsoft.com/office/drawing/2014/main" id="{BC59FFFA-F669-4745-BEDE-AB5A149FD173}"/>
                    </a:ext>
                  </a:extLst>
                </p:cNvPr>
                <p:cNvSpPr/>
                <p:nvPr/>
              </p:nvSpPr>
              <p:spPr>
                <a:xfrm>
                  <a:off x="3721376" y="2761361"/>
                  <a:ext cx="31569" cy="30370"/>
                </a:xfrm>
                <a:custGeom>
                  <a:avLst/>
                  <a:gdLst>
                    <a:gd name="connsiteX0" fmla="*/ 10827 w 31569"/>
                    <a:gd name="connsiteY0" fmla="*/ 0 h 30370"/>
                    <a:gd name="connsiteX1" fmla="*/ 25305 w 31569"/>
                    <a:gd name="connsiteY1" fmla="*/ 0 h 30370"/>
                    <a:gd name="connsiteX2" fmla="*/ 17713 w 31569"/>
                    <a:gd name="connsiteY2" fmla="*/ 21281 h 30370"/>
                    <a:gd name="connsiteX3" fmla="*/ 31569 w 31569"/>
                    <a:gd name="connsiteY3" fmla="*/ 21281 h 30370"/>
                    <a:gd name="connsiteX4" fmla="*/ 28292 w 31569"/>
                    <a:gd name="connsiteY4" fmla="*/ 30371 h 30370"/>
                    <a:gd name="connsiteX5" fmla="*/ 0 w 31569"/>
                    <a:gd name="connsiteY5" fmla="*/ 30371 h 30370"/>
                    <a:gd name="connsiteX6" fmla="*/ 10827 w 31569"/>
                    <a:gd name="connsiteY6" fmla="*/ 0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569" h="30370">
                      <a:moveTo>
                        <a:pt x="10827" y="0"/>
                      </a:moveTo>
                      <a:lnTo>
                        <a:pt x="25305" y="0"/>
                      </a:lnTo>
                      <a:lnTo>
                        <a:pt x="17713" y="21281"/>
                      </a:lnTo>
                      <a:lnTo>
                        <a:pt x="31569" y="21281"/>
                      </a:lnTo>
                      <a:lnTo>
                        <a:pt x="28292" y="30371"/>
                      </a:lnTo>
                      <a:lnTo>
                        <a:pt x="0" y="30371"/>
                      </a:lnTo>
                      <a:lnTo>
                        <a:pt x="10827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0" name="Freeform: Shape 589">
                  <a:extLst>
                    <a:ext uri="{FF2B5EF4-FFF2-40B4-BE49-F238E27FC236}">
                      <a16:creationId xmlns:a16="http://schemas.microsoft.com/office/drawing/2014/main" id="{6B83BF10-BB40-4DDB-B947-DBF8CDC45B70}"/>
                    </a:ext>
                  </a:extLst>
                </p:cNvPr>
                <p:cNvSpPr/>
                <p:nvPr/>
              </p:nvSpPr>
              <p:spPr>
                <a:xfrm>
                  <a:off x="3753816" y="2761361"/>
                  <a:ext cx="41317" cy="30413"/>
                </a:xfrm>
                <a:custGeom>
                  <a:avLst/>
                  <a:gdLst>
                    <a:gd name="connsiteX0" fmla="*/ 10869 w 41317"/>
                    <a:gd name="connsiteY0" fmla="*/ 0 h 30413"/>
                    <a:gd name="connsiteX1" fmla="*/ 41318 w 41317"/>
                    <a:gd name="connsiteY1" fmla="*/ 0 h 30413"/>
                    <a:gd name="connsiteX2" fmla="*/ 38372 w 41317"/>
                    <a:gd name="connsiteY2" fmla="*/ 8271 h 30413"/>
                    <a:gd name="connsiteX3" fmla="*/ 22360 w 41317"/>
                    <a:gd name="connsiteY3" fmla="*/ 8271 h 30413"/>
                    <a:gd name="connsiteX4" fmla="*/ 21364 w 41317"/>
                    <a:gd name="connsiteY4" fmla="*/ 11028 h 30413"/>
                    <a:gd name="connsiteX5" fmla="*/ 35800 w 41317"/>
                    <a:gd name="connsiteY5" fmla="*/ 11028 h 30413"/>
                    <a:gd name="connsiteX6" fmla="*/ 32772 w 41317"/>
                    <a:gd name="connsiteY6" fmla="*/ 19300 h 30413"/>
                    <a:gd name="connsiteX7" fmla="*/ 18419 w 41317"/>
                    <a:gd name="connsiteY7" fmla="*/ 19300 h 30413"/>
                    <a:gd name="connsiteX8" fmla="*/ 17382 w 41317"/>
                    <a:gd name="connsiteY8" fmla="*/ 22143 h 30413"/>
                    <a:gd name="connsiteX9" fmla="*/ 33394 w 41317"/>
                    <a:gd name="connsiteY9" fmla="*/ 22143 h 30413"/>
                    <a:gd name="connsiteX10" fmla="*/ 30449 w 41317"/>
                    <a:gd name="connsiteY10" fmla="*/ 30414 h 30413"/>
                    <a:gd name="connsiteX11" fmla="*/ 0 w 41317"/>
                    <a:gd name="connsiteY11" fmla="*/ 30414 h 30413"/>
                    <a:gd name="connsiteX12" fmla="*/ 10869 w 41317"/>
                    <a:gd name="connsiteY12" fmla="*/ 0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317" h="30413">
                      <a:moveTo>
                        <a:pt x="10869" y="0"/>
                      </a:moveTo>
                      <a:lnTo>
                        <a:pt x="41318" y="0"/>
                      </a:lnTo>
                      <a:lnTo>
                        <a:pt x="38372" y="8271"/>
                      </a:lnTo>
                      <a:lnTo>
                        <a:pt x="22360" y="8271"/>
                      </a:lnTo>
                      <a:lnTo>
                        <a:pt x="21364" y="11028"/>
                      </a:lnTo>
                      <a:lnTo>
                        <a:pt x="35800" y="11028"/>
                      </a:lnTo>
                      <a:lnTo>
                        <a:pt x="32772" y="19300"/>
                      </a:lnTo>
                      <a:lnTo>
                        <a:pt x="18419" y="19300"/>
                      </a:lnTo>
                      <a:lnTo>
                        <a:pt x="17382" y="22143"/>
                      </a:lnTo>
                      <a:lnTo>
                        <a:pt x="33394" y="22143"/>
                      </a:lnTo>
                      <a:lnTo>
                        <a:pt x="30449" y="30414"/>
                      </a:lnTo>
                      <a:lnTo>
                        <a:pt x="0" y="30414"/>
                      </a:lnTo>
                      <a:lnTo>
                        <a:pt x="10869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1" name="Freeform: Shape 590">
                  <a:extLst>
                    <a:ext uri="{FF2B5EF4-FFF2-40B4-BE49-F238E27FC236}">
                      <a16:creationId xmlns:a16="http://schemas.microsoft.com/office/drawing/2014/main" id="{4959E784-0230-4C25-BDBC-0860C3B6255A}"/>
                    </a:ext>
                  </a:extLst>
                </p:cNvPr>
                <p:cNvSpPr/>
                <p:nvPr/>
              </p:nvSpPr>
              <p:spPr>
                <a:xfrm>
                  <a:off x="3787169" y="2761361"/>
                  <a:ext cx="42437" cy="30370"/>
                </a:xfrm>
                <a:custGeom>
                  <a:avLst/>
                  <a:gdLst>
                    <a:gd name="connsiteX0" fmla="*/ 28375 w 42437"/>
                    <a:gd name="connsiteY0" fmla="*/ 26063 h 30370"/>
                    <a:gd name="connsiteX1" fmla="*/ 17506 w 42437"/>
                    <a:gd name="connsiteY1" fmla="*/ 26063 h 30370"/>
                    <a:gd name="connsiteX2" fmla="*/ 14851 w 42437"/>
                    <a:gd name="connsiteY2" fmla="*/ 30371 h 30370"/>
                    <a:gd name="connsiteX3" fmla="*/ 0 w 42437"/>
                    <a:gd name="connsiteY3" fmla="*/ 30371 h 30370"/>
                    <a:gd name="connsiteX4" fmla="*/ 17382 w 42437"/>
                    <a:gd name="connsiteY4" fmla="*/ 4696 h 30370"/>
                    <a:gd name="connsiteX5" fmla="*/ 25430 w 42437"/>
                    <a:gd name="connsiteY5" fmla="*/ 0 h 30370"/>
                    <a:gd name="connsiteX6" fmla="*/ 42438 w 42437"/>
                    <a:gd name="connsiteY6" fmla="*/ 0 h 30370"/>
                    <a:gd name="connsiteX7" fmla="*/ 41608 w 42437"/>
                    <a:gd name="connsiteY7" fmla="*/ 30371 h 30370"/>
                    <a:gd name="connsiteX8" fmla="*/ 28126 w 42437"/>
                    <a:gd name="connsiteY8" fmla="*/ 30371 h 30370"/>
                    <a:gd name="connsiteX9" fmla="*/ 28375 w 42437"/>
                    <a:gd name="connsiteY9" fmla="*/ 26063 h 30370"/>
                    <a:gd name="connsiteX10" fmla="*/ 29412 w 42437"/>
                    <a:gd name="connsiteY10" fmla="*/ 6979 h 30370"/>
                    <a:gd name="connsiteX11" fmla="*/ 22941 w 42437"/>
                    <a:gd name="connsiteY11" fmla="*/ 17404 h 30370"/>
                    <a:gd name="connsiteX12" fmla="*/ 28831 w 42437"/>
                    <a:gd name="connsiteY12" fmla="*/ 17404 h 30370"/>
                    <a:gd name="connsiteX13" fmla="*/ 29412 w 42437"/>
                    <a:gd name="connsiteY13" fmla="*/ 6979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2437" h="30370">
                      <a:moveTo>
                        <a:pt x="28375" y="26063"/>
                      </a:moveTo>
                      <a:lnTo>
                        <a:pt x="17506" y="26063"/>
                      </a:lnTo>
                      <a:lnTo>
                        <a:pt x="14851" y="30371"/>
                      </a:lnTo>
                      <a:lnTo>
                        <a:pt x="0" y="30371"/>
                      </a:lnTo>
                      <a:lnTo>
                        <a:pt x="17382" y="4696"/>
                      </a:lnTo>
                      <a:cubicBezTo>
                        <a:pt x="19663" y="1335"/>
                        <a:pt x="21904" y="0"/>
                        <a:pt x="25430" y="0"/>
                      </a:cubicBezTo>
                      <a:lnTo>
                        <a:pt x="42438" y="0"/>
                      </a:lnTo>
                      <a:lnTo>
                        <a:pt x="41608" y="30371"/>
                      </a:lnTo>
                      <a:lnTo>
                        <a:pt x="28126" y="30371"/>
                      </a:lnTo>
                      <a:lnTo>
                        <a:pt x="28375" y="26063"/>
                      </a:lnTo>
                      <a:close/>
                      <a:moveTo>
                        <a:pt x="29412" y="6979"/>
                      </a:moveTo>
                      <a:lnTo>
                        <a:pt x="22941" y="17404"/>
                      </a:lnTo>
                      <a:lnTo>
                        <a:pt x="28831" y="17404"/>
                      </a:lnTo>
                      <a:lnTo>
                        <a:pt x="29412" y="6979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2" name="Freeform: Shape 591">
                  <a:extLst>
                    <a:ext uri="{FF2B5EF4-FFF2-40B4-BE49-F238E27FC236}">
                      <a16:creationId xmlns:a16="http://schemas.microsoft.com/office/drawing/2014/main" id="{4FF8A621-7BD6-48BE-BAD1-4BD1CD2D6042}"/>
                    </a:ext>
                  </a:extLst>
                </p:cNvPr>
                <p:cNvSpPr/>
                <p:nvPr/>
              </p:nvSpPr>
              <p:spPr>
                <a:xfrm>
                  <a:off x="3831640" y="2761361"/>
                  <a:ext cx="42597" cy="30370"/>
                </a:xfrm>
                <a:custGeom>
                  <a:avLst/>
                  <a:gdLst>
                    <a:gd name="connsiteX0" fmla="*/ 18834 w 42597"/>
                    <a:gd name="connsiteY0" fmla="*/ 22358 h 30370"/>
                    <a:gd name="connsiteX1" fmla="*/ 17340 w 42597"/>
                    <a:gd name="connsiteY1" fmla="*/ 22358 h 30370"/>
                    <a:gd name="connsiteX2" fmla="*/ 14478 w 42597"/>
                    <a:gd name="connsiteY2" fmla="*/ 30371 h 30370"/>
                    <a:gd name="connsiteX3" fmla="*/ 0 w 42597"/>
                    <a:gd name="connsiteY3" fmla="*/ 30371 h 30370"/>
                    <a:gd name="connsiteX4" fmla="*/ 10869 w 42597"/>
                    <a:gd name="connsiteY4" fmla="*/ 0 h 30370"/>
                    <a:gd name="connsiteX5" fmla="*/ 28665 w 42597"/>
                    <a:gd name="connsiteY5" fmla="*/ 0 h 30370"/>
                    <a:gd name="connsiteX6" fmla="*/ 41691 w 42597"/>
                    <a:gd name="connsiteY6" fmla="*/ 12881 h 30370"/>
                    <a:gd name="connsiteX7" fmla="*/ 31942 w 42597"/>
                    <a:gd name="connsiteY7" fmla="*/ 20161 h 30370"/>
                    <a:gd name="connsiteX8" fmla="*/ 36588 w 42597"/>
                    <a:gd name="connsiteY8" fmla="*/ 30371 h 30370"/>
                    <a:gd name="connsiteX9" fmla="*/ 21696 w 42597"/>
                    <a:gd name="connsiteY9" fmla="*/ 30371 h 30370"/>
                    <a:gd name="connsiteX10" fmla="*/ 18834 w 42597"/>
                    <a:gd name="connsiteY10" fmla="*/ 22358 h 30370"/>
                    <a:gd name="connsiteX11" fmla="*/ 22443 w 42597"/>
                    <a:gd name="connsiteY11" fmla="*/ 8271 h 30370"/>
                    <a:gd name="connsiteX12" fmla="*/ 20327 w 42597"/>
                    <a:gd name="connsiteY12" fmla="*/ 14087 h 30370"/>
                    <a:gd name="connsiteX13" fmla="*/ 22111 w 42597"/>
                    <a:gd name="connsiteY13" fmla="*/ 14087 h 30370"/>
                    <a:gd name="connsiteX14" fmla="*/ 27462 w 42597"/>
                    <a:gd name="connsiteY14" fmla="*/ 11416 h 30370"/>
                    <a:gd name="connsiteX15" fmla="*/ 24683 w 42597"/>
                    <a:gd name="connsiteY15" fmla="*/ 8271 h 30370"/>
                    <a:gd name="connsiteX16" fmla="*/ 22443 w 42597"/>
                    <a:gd name="connsiteY16" fmla="*/ 82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2597" h="30370">
                      <a:moveTo>
                        <a:pt x="18834" y="22358"/>
                      </a:moveTo>
                      <a:lnTo>
                        <a:pt x="17340" y="22358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8665" y="0"/>
                      </a:lnTo>
                      <a:cubicBezTo>
                        <a:pt x="40903" y="0"/>
                        <a:pt x="44512" y="4825"/>
                        <a:pt x="41691" y="12881"/>
                      </a:cubicBezTo>
                      <a:cubicBezTo>
                        <a:pt x="40073" y="17447"/>
                        <a:pt x="36920" y="19386"/>
                        <a:pt x="31942" y="20161"/>
                      </a:cubicBezTo>
                      <a:lnTo>
                        <a:pt x="36588" y="30371"/>
                      </a:lnTo>
                      <a:lnTo>
                        <a:pt x="21696" y="30371"/>
                      </a:lnTo>
                      <a:lnTo>
                        <a:pt x="18834" y="22358"/>
                      </a:lnTo>
                      <a:close/>
                      <a:moveTo>
                        <a:pt x="22443" y="8271"/>
                      </a:moveTo>
                      <a:lnTo>
                        <a:pt x="20327" y="14087"/>
                      </a:lnTo>
                      <a:lnTo>
                        <a:pt x="22111" y="14087"/>
                      </a:lnTo>
                      <a:cubicBezTo>
                        <a:pt x="25263" y="14087"/>
                        <a:pt x="26549" y="13958"/>
                        <a:pt x="27462" y="11416"/>
                      </a:cubicBezTo>
                      <a:cubicBezTo>
                        <a:pt x="28126" y="9650"/>
                        <a:pt x="27960" y="8271"/>
                        <a:pt x="24683" y="8271"/>
                      </a:cubicBezTo>
                      <a:lnTo>
                        <a:pt x="22443" y="82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3" name="Freeform: Shape 592">
                  <a:extLst>
                    <a:ext uri="{FF2B5EF4-FFF2-40B4-BE49-F238E27FC236}">
                      <a16:creationId xmlns:a16="http://schemas.microsoft.com/office/drawing/2014/main" id="{F93EF097-1220-4FBF-9536-30D6B0B45DE9}"/>
                    </a:ext>
                  </a:extLst>
                </p:cNvPr>
                <p:cNvSpPr/>
                <p:nvPr/>
              </p:nvSpPr>
              <p:spPr>
                <a:xfrm>
                  <a:off x="3871547" y="2761318"/>
                  <a:ext cx="50485" cy="30413"/>
                </a:xfrm>
                <a:custGeom>
                  <a:avLst/>
                  <a:gdLst>
                    <a:gd name="connsiteX0" fmla="*/ 19705 w 50485"/>
                    <a:gd name="connsiteY0" fmla="*/ 9994 h 30413"/>
                    <a:gd name="connsiteX1" fmla="*/ 12404 w 50485"/>
                    <a:gd name="connsiteY1" fmla="*/ 30414 h 30413"/>
                    <a:gd name="connsiteX2" fmla="*/ 0 w 50485"/>
                    <a:gd name="connsiteY2" fmla="*/ 30414 h 30413"/>
                    <a:gd name="connsiteX3" fmla="*/ 10869 w 50485"/>
                    <a:gd name="connsiteY3" fmla="*/ 43 h 30413"/>
                    <a:gd name="connsiteX4" fmla="*/ 26923 w 50485"/>
                    <a:gd name="connsiteY4" fmla="*/ 43 h 30413"/>
                    <a:gd name="connsiteX5" fmla="*/ 31403 w 50485"/>
                    <a:gd name="connsiteY5" fmla="*/ 5686 h 30413"/>
                    <a:gd name="connsiteX6" fmla="*/ 30698 w 50485"/>
                    <a:gd name="connsiteY6" fmla="*/ 20807 h 30413"/>
                    <a:gd name="connsiteX7" fmla="*/ 38124 w 50485"/>
                    <a:gd name="connsiteY7" fmla="*/ 0 h 30413"/>
                    <a:gd name="connsiteX8" fmla="*/ 50486 w 50485"/>
                    <a:gd name="connsiteY8" fmla="*/ 0 h 30413"/>
                    <a:gd name="connsiteX9" fmla="*/ 39617 w 50485"/>
                    <a:gd name="connsiteY9" fmla="*/ 30371 h 30413"/>
                    <a:gd name="connsiteX10" fmla="*/ 18792 w 50485"/>
                    <a:gd name="connsiteY10" fmla="*/ 30371 h 30413"/>
                    <a:gd name="connsiteX11" fmla="*/ 19705 w 50485"/>
                    <a:gd name="connsiteY11" fmla="*/ 9994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0485" h="30413">
                      <a:moveTo>
                        <a:pt x="19705" y="9994"/>
                      </a:moveTo>
                      <a:lnTo>
                        <a:pt x="12404" y="30414"/>
                      </a:lnTo>
                      <a:lnTo>
                        <a:pt x="0" y="30414"/>
                      </a:lnTo>
                      <a:lnTo>
                        <a:pt x="10869" y="43"/>
                      </a:lnTo>
                      <a:lnTo>
                        <a:pt x="26923" y="43"/>
                      </a:lnTo>
                      <a:cubicBezTo>
                        <a:pt x="30490" y="43"/>
                        <a:pt x="31569" y="2326"/>
                        <a:pt x="31403" y="5686"/>
                      </a:cubicBezTo>
                      <a:lnTo>
                        <a:pt x="30698" y="20807"/>
                      </a:lnTo>
                      <a:lnTo>
                        <a:pt x="38124" y="0"/>
                      </a:lnTo>
                      <a:lnTo>
                        <a:pt x="50486" y="0"/>
                      </a:lnTo>
                      <a:lnTo>
                        <a:pt x="39617" y="30371"/>
                      </a:lnTo>
                      <a:lnTo>
                        <a:pt x="18792" y="30371"/>
                      </a:lnTo>
                      <a:lnTo>
                        <a:pt x="19705" y="9994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94" name="Graphique 1">
                <a:extLst>
                  <a:ext uri="{FF2B5EF4-FFF2-40B4-BE49-F238E27FC236}">
                    <a16:creationId xmlns:a16="http://schemas.microsoft.com/office/drawing/2014/main" id="{E0A4D984-9D24-4D71-B171-17A6E7370276}"/>
                  </a:ext>
                </a:extLst>
              </p:cNvPr>
              <p:cNvGrpSpPr/>
              <p:nvPr/>
            </p:nvGrpSpPr>
            <p:grpSpPr>
              <a:xfrm>
                <a:off x="2600818" y="2760542"/>
                <a:ext cx="365886" cy="32050"/>
                <a:chOff x="2600818" y="2760542"/>
                <a:chExt cx="365886" cy="32050"/>
              </a:xfrm>
              <a:solidFill>
                <a:srgbClr val="27509B"/>
              </a:solidFill>
            </p:grpSpPr>
            <p:sp>
              <p:nvSpPr>
                <p:cNvPr id="595" name="Freeform: Shape 594">
                  <a:extLst>
                    <a:ext uri="{FF2B5EF4-FFF2-40B4-BE49-F238E27FC236}">
                      <a16:creationId xmlns:a16="http://schemas.microsoft.com/office/drawing/2014/main" id="{40B0107F-7656-494E-BE4F-CF54DB72E6DF}"/>
                    </a:ext>
                  </a:extLst>
                </p:cNvPr>
                <p:cNvSpPr/>
                <p:nvPr/>
              </p:nvSpPr>
              <p:spPr>
                <a:xfrm>
                  <a:off x="2600818" y="2761361"/>
                  <a:ext cx="46835" cy="30370"/>
                </a:xfrm>
                <a:custGeom>
                  <a:avLst/>
                  <a:gdLst>
                    <a:gd name="connsiteX0" fmla="*/ 25305 w 46835"/>
                    <a:gd name="connsiteY0" fmla="*/ 19730 h 30370"/>
                    <a:gd name="connsiteX1" fmla="*/ 18294 w 46835"/>
                    <a:gd name="connsiteY1" fmla="*/ 19730 h 30370"/>
                    <a:gd name="connsiteX2" fmla="*/ 14478 w 46835"/>
                    <a:gd name="connsiteY2" fmla="*/ 30371 h 30370"/>
                    <a:gd name="connsiteX3" fmla="*/ 0 w 46835"/>
                    <a:gd name="connsiteY3" fmla="*/ 30371 h 30370"/>
                    <a:gd name="connsiteX4" fmla="*/ 10869 w 46835"/>
                    <a:gd name="connsiteY4" fmla="*/ 0 h 30370"/>
                    <a:gd name="connsiteX5" fmla="*/ 25346 w 46835"/>
                    <a:gd name="connsiteY5" fmla="*/ 0 h 30370"/>
                    <a:gd name="connsiteX6" fmla="*/ 21530 w 46835"/>
                    <a:gd name="connsiteY6" fmla="*/ 10641 h 30370"/>
                    <a:gd name="connsiteX7" fmla="*/ 28541 w 46835"/>
                    <a:gd name="connsiteY7" fmla="*/ 10641 h 30370"/>
                    <a:gd name="connsiteX8" fmla="*/ 32357 w 46835"/>
                    <a:gd name="connsiteY8" fmla="*/ 0 h 30370"/>
                    <a:gd name="connsiteX9" fmla="*/ 46835 w 46835"/>
                    <a:gd name="connsiteY9" fmla="*/ 0 h 30370"/>
                    <a:gd name="connsiteX10" fmla="*/ 35966 w 46835"/>
                    <a:gd name="connsiteY10" fmla="*/ 30371 h 30370"/>
                    <a:gd name="connsiteX11" fmla="*/ 21489 w 46835"/>
                    <a:gd name="connsiteY11" fmla="*/ 30371 h 30370"/>
                    <a:gd name="connsiteX12" fmla="*/ 25305 w 46835"/>
                    <a:gd name="connsiteY12" fmla="*/ 19730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6835" h="30370">
                      <a:moveTo>
                        <a:pt x="25305" y="19730"/>
                      </a:moveTo>
                      <a:lnTo>
                        <a:pt x="18294" y="19730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5346" y="0"/>
                      </a:lnTo>
                      <a:lnTo>
                        <a:pt x="21530" y="10641"/>
                      </a:lnTo>
                      <a:lnTo>
                        <a:pt x="28541" y="10641"/>
                      </a:lnTo>
                      <a:lnTo>
                        <a:pt x="32357" y="0"/>
                      </a:lnTo>
                      <a:lnTo>
                        <a:pt x="46835" y="0"/>
                      </a:lnTo>
                      <a:lnTo>
                        <a:pt x="35966" y="30371"/>
                      </a:lnTo>
                      <a:lnTo>
                        <a:pt x="21489" y="30371"/>
                      </a:lnTo>
                      <a:lnTo>
                        <a:pt x="25305" y="1973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6" name="Freeform: Shape 595">
                  <a:extLst>
                    <a:ext uri="{FF2B5EF4-FFF2-40B4-BE49-F238E27FC236}">
                      <a16:creationId xmlns:a16="http://schemas.microsoft.com/office/drawing/2014/main" id="{018FF3B7-C844-48CA-B1DC-585FF9EA9F5E}"/>
                    </a:ext>
                  </a:extLst>
                </p:cNvPr>
                <p:cNvSpPr/>
                <p:nvPr/>
              </p:nvSpPr>
              <p:spPr>
                <a:xfrm>
                  <a:off x="2650557" y="2761361"/>
                  <a:ext cx="41566" cy="30370"/>
                </a:xfrm>
                <a:custGeom>
                  <a:avLst/>
                  <a:gdLst>
                    <a:gd name="connsiteX0" fmla="*/ 2489 w 41566"/>
                    <a:gd name="connsiteY0" fmla="*/ 30371 h 30370"/>
                    <a:gd name="connsiteX1" fmla="*/ 6223 w 41566"/>
                    <a:gd name="connsiteY1" fmla="*/ 19903 h 30370"/>
                    <a:gd name="connsiteX2" fmla="*/ 0 w 41566"/>
                    <a:gd name="connsiteY2" fmla="*/ 0 h 30370"/>
                    <a:gd name="connsiteX3" fmla="*/ 13441 w 41566"/>
                    <a:gd name="connsiteY3" fmla="*/ 0 h 30370"/>
                    <a:gd name="connsiteX4" fmla="*/ 16220 w 41566"/>
                    <a:gd name="connsiteY4" fmla="*/ 10167 h 30370"/>
                    <a:gd name="connsiteX5" fmla="*/ 25471 w 41566"/>
                    <a:gd name="connsiteY5" fmla="*/ 0 h 30370"/>
                    <a:gd name="connsiteX6" fmla="*/ 41567 w 41566"/>
                    <a:gd name="connsiteY6" fmla="*/ 0 h 30370"/>
                    <a:gd name="connsiteX7" fmla="*/ 20286 w 41566"/>
                    <a:gd name="connsiteY7" fmla="*/ 20937 h 30370"/>
                    <a:gd name="connsiteX8" fmla="*/ 16925 w 41566"/>
                    <a:gd name="connsiteY8" fmla="*/ 30371 h 30370"/>
                    <a:gd name="connsiteX9" fmla="*/ 2489 w 41566"/>
                    <a:gd name="connsiteY9" fmla="*/ 303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1566" h="30370">
                      <a:moveTo>
                        <a:pt x="2489" y="30371"/>
                      </a:moveTo>
                      <a:lnTo>
                        <a:pt x="6223" y="19903"/>
                      </a:lnTo>
                      <a:lnTo>
                        <a:pt x="0" y="0"/>
                      </a:lnTo>
                      <a:lnTo>
                        <a:pt x="13441" y="0"/>
                      </a:lnTo>
                      <a:lnTo>
                        <a:pt x="16220" y="10167"/>
                      </a:lnTo>
                      <a:lnTo>
                        <a:pt x="25471" y="0"/>
                      </a:lnTo>
                      <a:lnTo>
                        <a:pt x="41567" y="0"/>
                      </a:lnTo>
                      <a:lnTo>
                        <a:pt x="20286" y="20937"/>
                      </a:lnTo>
                      <a:lnTo>
                        <a:pt x="16925" y="30371"/>
                      </a:lnTo>
                      <a:lnTo>
                        <a:pt x="2489" y="303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7" name="Freeform: Shape 596">
                  <a:extLst>
                    <a:ext uri="{FF2B5EF4-FFF2-40B4-BE49-F238E27FC236}">
                      <a16:creationId xmlns:a16="http://schemas.microsoft.com/office/drawing/2014/main" id="{A922B76B-EF4A-4EFA-99CD-D02013A1775F}"/>
                    </a:ext>
                  </a:extLst>
                </p:cNvPr>
                <p:cNvSpPr/>
                <p:nvPr/>
              </p:nvSpPr>
              <p:spPr>
                <a:xfrm>
                  <a:off x="2684159" y="2761361"/>
                  <a:ext cx="42285" cy="30370"/>
                </a:xfrm>
                <a:custGeom>
                  <a:avLst/>
                  <a:gdLst>
                    <a:gd name="connsiteX0" fmla="*/ 16760 w 42285"/>
                    <a:gd name="connsiteY0" fmla="*/ 24038 h 30370"/>
                    <a:gd name="connsiteX1" fmla="*/ 14478 w 42285"/>
                    <a:gd name="connsiteY1" fmla="*/ 30371 h 30370"/>
                    <a:gd name="connsiteX2" fmla="*/ 0 w 42285"/>
                    <a:gd name="connsiteY2" fmla="*/ 30371 h 30370"/>
                    <a:gd name="connsiteX3" fmla="*/ 10869 w 42285"/>
                    <a:gd name="connsiteY3" fmla="*/ 0 h 30370"/>
                    <a:gd name="connsiteX4" fmla="*/ 27711 w 42285"/>
                    <a:gd name="connsiteY4" fmla="*/ 0 h 30370"/>
                    <a:gd name="connsiteX5" fmla="*/ 41235 w 42285"/>
                    <a:gd name="connsiteY5" fmla="*/ 14345 h 30370"/>
                    <a:gd name="connsiteX6" fmla="*/ 22982 w 42285"/>
                    <a:gd name="connsiteY6" fmla="*/ 24038 h 30370"/>
                    <a:gd name="connsiteX7" fmla="*/ 16760 w 42285"/>
                    <a:gd name="connsiteY7" fmla="*/ 24038 h 30370"/>
                    <a:gd name="connsiteX8" fmla="*/ 22401 w 42285"/>
                    <a:gd name="connsiteY8" fmla="*/ 8271 h 30370"/>
                    <a:gd name="connsiteX9" fmla="*/ 19705 w 42285"/>
                    <a:gd name="connsiteY9" fmla="*/ 15767 h 30370"/>
                    <a:gd name="connsiteX10" fmla="*/ 21074 w 42285"/>
                    <a:gd name="connsiteY10" fmla="*/ 15767 h 30370"/>
                    <a:gd name="connsiteX11" fmla="*/ 27213 w 42285"/>
                    <a:gd name="connsiteY11" fmla="*/ 12278 h 30370"/>
                    <a:gd name="connsiteX12" fmla="*/ 24641 w 42285"/>
                    <a:gd name="connsiteY12" fmla="*/ 8271 h 30370"/>
                    <a:gd name="connsiteX13" fmla="*/ 22401 w 42285"/>
                    <a:gd name="connsiteY13" fmla="*/ 82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2285" h="30370">
                      <a:moveTo>
                        <a:pt x="16760" y="24038"/>
                      </a:move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7711" y="0"/>
                      </a:lnTo>
                      <a:cubicBezTo>
                        <a:pt x="41318" y="0"/>
                        <a:pt x="44180" y="6160"/>
                        <a:pt x="41235" y="14345"/>
                      </a:cubicBezTo>
                      <a:cubicBezTo>
                        <a:pt x="38290" y="22444"/>
                        <a:pt x="31569" y="24038"/>
                        <a:pt x="22982" y="24038"/>
                      </a:cubicBezTo>
                      <a:lnTo>
                        <a:pt x="16760" y="24038"/>
                      </a:lnTo>
                      <a:close/>
                      <a:moveTo>
                        <a:pt x="22401" y="8271"/>
                      </a:moveTo>
                      <a:lnTo>
                        <a:pt x="19705" y="15767"/>
                      </a:lnTo>
                      <a:lnTo>
                        <a:pt x="21074" y="15767"/>
                      </a:lnTo>
                      <a:cubicBezTo>
                        <a:pt x="25056" y="15767"/>
                        <a:pt x="26259" y="14948"/>
                        <a:pt x="27213" y="12278"/>
                      </a:cubicBezTo>
                      <a:cubicBezTo>
                        <a:pt x="28168" y="9650"/>
                        <a:pt x="27836" y="8271"/>
                        <a:pt x="24641" y="8271"/>
                      </a:cubicBezTo>
                      <a:lnTo>
                        <a:pt x="22401" y="82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8" name="Freeform: Shape 597">
                  <a:extLst>
                    <a:ext uri="{FF2B5EF4-FFF2-40B4-BE49-F238E27FC236}">
                      <a16:creationId xmlns:a16="http://schemas.microsoft.com/office/drawing/2014/main" id="{31A3FFA8-0ADD-4750-A5C1-2BA7911B86F1}"/>
                    </a:ext>
                  </a:extLst>
                </p:cNvPr>
                <p:cNvSpPr/>
                <p:nvPr/>
              </p:nvSpPr>
              <p:spPr>
                <a:xfrm>
                  <a:off x="2727179" y="2760542"/>
                  <a:ext cx="41665" cy="32050"/>
                </a:xfrm>
                <a:custGeom>
                  <a:avLst/>
                  <a:gdLst>
                    <a:gd name="connsiteX0" fmla="*/ 1408 w 41665"/>
                    <a:gd name="connsiteY0" fmla="*/ 13828 h 32050"/>
                    <a:gd name="connsiteX1" fmla="*/ 24473 w 41665"/>
                    <a:gd name="connsiteY1" fmla="*/ 0 h 32050"/>
                    <a:gd name="connsiteX2" fmla="*/ 40279 w 41665"/>
                    <a:gd name="connsiteY2" fmla="*/ 18179 h 32050"/>
                    <a:gd name="connsiteX3" fmla="*/ 17255 w 41665"/>
                    <a:gd name="connsiteY3" fmla="*/ 32051 h 32050"/>
                    <a:gd name="connsiteX4" fmla="*/ 1408 w 41665"/>
                    <a:gd name="connsiteY4" fmla="*/ 13828 h 32050"/>
                    <a:gd name="connsiteX5" fmla="*/ 26257 w 41665"/>
                    <a:gd name="connsiteY5" fmla="*/ 16887 h 32050"/>
                    <a:gd name="connsiteX6" fmla="*/ 22980 w 41665"/>
                    <a:gd name="connsiteY6" fmla="*/ 8874 h 32050"/>
                    <a:gd name="connsiteX7" fmla="*/ 15472 w 41665"/>
                    <a:gd name="connsiteY7" fmla="*/ 15121 h 32050"/>
                    <a:gd name="connsiteX8" fmla="*/ 18749 w 41665"/>
                    <a:gd name="connsiteY8" fmla="*/ 23134 h 32050"/>
                    <a:gd name="connsiteX9" fmla="*/ 26257 w 41665"/>
                    <a:gd name="connsiteY9" fmla="*/ 16887 h 32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1665" h="32050">
                      <a:moveTo>
                        <a:pt x="1408" y="13828"/>
                      </a:moveTo>
                      <a:cubicBezTo>
                        <a:pt x="5183" y="3489"/>
                        <a:pt x="12070" y="0"/>
                        <a:pt x="24473" y="0"/>
                      </a:cubicBezTo>
                      <a:cubicBezTo>
                        <a:pt x="40279" y="0"/>
                        <a:pt x="44137" y="7625"/>
                        <a:pt x="40279" y="18179"/>
                      </a:cubicBezTo>
                      <a:cubicBezTo>
                        <a:pt x="36462" y="28562"/>
                        <a:pt x="29576" y="32051"/>
                        <a:pt x="17255" y="32051"/>
                      </a:cubicBezTo>
                      <a:cubicBezTo>
                        <a:pt x="1367" y="32051"/>
                        <a:pt x="-2491" y="24426"/>
                        <a:pt x="1408" y="13828"/>
                      </a:cubicBezTo>
                      <a:close/>
                      <a:moveTo>
                        <a:pt x="26257" y="16887"/>
                      </a:moveTo>
                      <a:cubicBezTo>
                        <a:pt x="28041" y="11545"/>
                        <a:pt x="27211" y="8874"/>
                        <a:pt x="22980" y="8874"/>
                      </a:cubicBezTo>
                      <a:cubicBezTo>
                        <a:pt x="19288" y="8874"/>
                        <a:pt x="17214" y="10210"/>
                        <a:pt x="15472" y="15121"/>
                      </a:cubicBezTo>
                      <a:cubicBezTo>
                        <a:pt x="13605" y="20419"/>
                        <a:pt x="14434" y="23134"/>
                        <a:pt x="18749" y="23134"/>
                      </a:cubicBezTo>
                      <a:cubicBezTo>
                        <a:pt x="22358" y="23134"/>
                        <a:pt x="24432" y="21798"/>
                        <a:pt x="26257" y="16887"/>
                      </a:cubicBez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99" name="Freeform: Shape 598">
                  <a:extLst>
                    <a:ext uri="{FF2B5EF4-FFF2-40B4-BE49-F238E27FC236}">
                      <a16:creationId xmlns:a16="http://schemas.microsoft.com/office/drawing/2014/main" id="{55F194F6-1C40-44F8-A6E5-221452406D00}"/>
                    </a:ext>
                  </a:extLst>
                </p:cNvPr>
                <p:cNvSpPr/>
                <p:nvPr/>
              </p:nvSpPr>
              <p:spPr>
                <a:xfrm>
                  <a:off x="2770569" y="2761361"/>
                  <a:ext cx="33560" cy="30370"/>
                </a:xfrm>
                <a:custGeom>
                  <a:avLst/>
                  <a:gdLst>
                    <a:gd name="connsiteX0" fmla="*/ 22567 w 33560"/>
                    <a:gd name="connsiteY0" fmla="*/ 9133 h 30370"/>
                    <a:gd name="connsiteX1" fmla="*/ 14976 w 33560"/>
                    <a:gd name="connsiteY1" fmla="*/ 30371 h 30370"/>
                    <a:gd name="connsiteX2" fmla="*/ 498 w 33560"/>
                    <a:gd name="connsiteY2" fmla="*/ 30371 h 30370"/>
                    <a:gd name="connsiteX3" fmla="*/ 8089 w 33560"/>
                    <a:gd name="connsiteY3" fmla="*/ 9133 h 30370"/>
                    <a:gd name="connsiteX4" fmla="*/ 0 w 33560"/>
                    <a:gd name="connsiteY4" fmla="*/ 9133 h 30370"/>
                    <a:gd name="connsiteX5" fmla="*/ 3277 w 33560"/>
                    <a:gd name="connsiteY5" fmla="*/ 0 h 30370"/>
                    <a:gd name="connsiteX6" fmla="*/ 33560 w 33560"/>
                    <a:gd name="connsiteY6" fmla="*/ 0 h 30370"/>
                    <a:gd name="connsiteX7" fmla="*/ 30283 w 33560"/>
                    <a:gd name="connsiteY7" fmla="*/ 9133 h 30370"/>
                    <a:gd name="connsiteX8" fmla="*/ 22567 w 33560"/>
                    <a:gd name="connsiteY8" fmla="*/ 9133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3560" h="30370">
                      <a:moveTo>
                        <a:pt x="22567" y="9133"/>
                      </a:moveTo>
                      <a:lnTo>
                        <a:pt x="14976" y="30371"/>
                      </a:lnTo>
                      <a:lnTo>
                        <a:pt x="498" y="30371"/>
                      </a:lnTo>
                      <a:lnTo>
                        <a:pt x="8089" y="9133"/>
                      </a:lnTo>
                      <a:lnTo>
                        <a:pt x="0" y="9133"/>
                      </a:lnTo>
                      <a:lnTo>
                        <a:pt x="3277" y="0"/>
                      </a:lnTo>
                      <a:lnTo>
                        <a:pt x="33560" y="0"/>
                      </a:lnTo>
                      <a:lnTo>
                        <a:pt x="30283" y="9133"/>
                      </a:lnTo>
                      <a:lnTo>
                        <a:pt x="22567" y="9133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0" name="Freeform: Shape 599">
                  <a:extLst>
                    <a:ext uri="{FF2B5EF4-FFF2-40B4-BE49-F238E27FC236}">
                      <a16:creationId xmlns:a16="http://schemas.microsoft.com/office/drawing/2014/main" id="{8358A8C9-1392-460E-9A2F-F511C8195820}"/>
                    </a:ext>
                  </a:extLst>
                </p:cNvPr>
                <p:cNvSpPr/>
                <p:nvPr/>
              </p:nvSpPr>
              <p:spPr>
                <a:xfrm>
                  <a:off x="2797409" y="2761361"/>
                  <a:ext cx="46835" cy="30370"/>
                </a:xfrm>
                <a:custGeom>
                  <a:avLst/>
                  <a:gdLst>
                    <a:gd name="connsiteX0" fmla="*/ 25305 w 46835"/>
                    <a:gd name="connsiteY0" fmla="*/ 19730 h 30370"/>
                    <a:gd name="connsiteX1" fmla="*/ 18294 w 46835"/>
                    <a:gd name="connsiteY1" fmla="*/ 19730 h 30370"/>
                    <a:gd name="connsiteX2" fmla="*/ 14478 w 46835"/>
                    <a:gd name="connsiteY2" fmla="*/ 30371 h 30370"/>
                    <a:gd name="connsiteX3" fmla="*/ 0 w 46835"/>
                    <a:gd name="connsiteY3" fmla="*/ 30371 h 30370"/>
                    <a:gd name="connsiteX4" fmla="*/ 10869 w 46835"/>
                    <a:gd name="connsiteY4" fmla="*/ 0 h 30370"/>
                    <a:gd name="connsiteX5" fmla="*/ 25347 w 46835"/>
                    <a:gd name="connsiteY5" fmla="*/ 0 h 30370"/>
                    <a:gd name="connsiteX6" fmla="*/ 21530 w 46835"/>
                    <a:gd name="connsiteY6" fmla="*/ 10641 h 30370"/>
                    <a:gd name="connsiteX7" fmla="*/ 28541 w 46835"/>
                    <a:gd name="connsiteY7" fmla="*/ 10641 h 30370"/>
                    <a:gd name="connsiteX8" fmla="*/ 32357 w 46835"/>
                    <a:gd name="connsiteY8" fmla="*/ 0 h 30370"/>
                    <a:gd name="connsiteX9" fmla="*/ 46835 w 46835"/>
                    <a:gd name="connsiteY9" fmla="*/ 0 h 30370"/>
                    <a:gd name="connsiteX10" fmla="*/ 35967 w 46835"/>
                    <a:gd name="connsiteY10" fmla="*/ 30371 h 30370"/>
                    <a:gd name="connsiteX11" fmla="*/ 21530 w 46835"/>
                    <a:gd name="connsiteY11" fmla="*/ 30371 h 30370"/>
                    <a:gd name="connsiteX12" fmla="*/ 25305 w 46835"/>
                    <a:gd name="connsiteY12" fmla="*/ 19730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6835" h="30370">
                      <a:moveTo>
                        <a:pt x="25305" y="19730"/>
                      </a:moveTo>
                      <a:lnTo>
                        <a:pt x="18294" y="19730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lnTo>
                        <a:pt x="10869" y="0"/>
                      </a:lnTo>
                      <a:lnTo>
                        <a:pt x="25347" y="0"/>
                      </a:lnTo>
                      <a:lnTo>
                        <a:pt x="21530" y="10641"/>
                      </a:lnTo>
                      <a:lnTo>
                        <a:pt x="28541" y="10641"/>
                      </a:lnTo>
                      <a:lnTo>
                        <a:pt x="32357" y="0"/>
                      </a:lnTo>
                      <a:lnTo>
                        <a:pt x="46835" y="0"/>
                      </a:lnTo>
                      <a:lnTo>
                        <a:pt x="35967" y="30371"/>
                      </a:lnTo>
                      <a:lnTo>
                        <a:pt x="21530" y="30371"/>
                      </a:lnTo>
                      <a:lnTo>
                        <a:pt x="25305" y="1973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1" name="Freeform: Shape 600">
                  <a:extLst>
                    <a:ext uri="{FF2B5EF4-FFF2-40B4-BE49-F238E27FC236}">
                      <a16:creationId xmlns:a16="http://schemas.microsoft.com/office/drawing/2014/main" id="{CD186CE9-AD63-4031-8CF0-FA6073AB7811}"/>
                    </a:ext>
                  </a:extLst>
                </p:cNvPr>
                <p:cNvSpPr/>
                <p:nvPr/>
              </p:nvSpPr>
              <p:spPr>
                <a:xfrm>
                  <a:off x="2839225" y="2761361"/>
                  <a:ext cx="41317" cy="30413"/>
                </a:xfrm>
                <a:custGeom>
                  <a:avLst/>
                  <a:gdLst>
                    <a:gd name="connsiteX0" fmla="*/ 10869 w 41317"/>
                    <a:gd name="connsiteY0" fmla="*/ 0 h 30413"/>
                    <a:gd name="connsiteX1" fmla="*/ 41318 w 41317"/>
                    <a:gd name="connsiteY1" fmla="*/ 0 h 30413"/>
                    <a:gd name="connsiteX2" fmla="*/ 38372 w 41317"/>
                    <a:gd name="connsiteY2" fmla="*/ 8271 h 30413"/>
                    <a:gd name="connsiteX3" fmla="*/ 22360 w 41317"/>
                    <a:gd name="connsiteY3" fmla="*/ 8271 h 30413"/>
                    <a:gd name="connsiteX4" fmla="*/ 21364 w 41317"/>
                    <a:gd name="connsiteY4" fmla="*/ 11028 h 30413"/>
                    <a:gd name="connsiteX5" fmla="*/ 35800 w 41317"/>
                    <a:gd name="connsiteY5" fmla="*/ 11028 h 30413"/>
                    <a:gd name="connsiteX6" fmla="*/ 32772 w 41317"/>
                    <a:gd name="connsiteY6" fmla="*/ 19300 h 30413"/>
                    <a:gd name="connsiteX7" fmla="*/ 18419 w 41317"/>
                    <a:gd name="connsiteY7" fmla="*/ 19300 h 30413"/>
                    <a:gd name="connsiteX8" fmla="*/ 17382 w 41317"/>
                    <a:gd name="connsiteY8" fmla="*/ 22143 h 30413"/>
                    <a:gd name="connsiteX9" fmla="*/ 33394 w 41317"/>
                    <a:gd name="connsiteY9" fmla="*/ 22143 h 30413"/>
                    <a:gd name="connsiteX10" fmla="*/ 30449 w 41317"/>
                    <a:gd name="connsiteY10" fmla="*/ 30414 h 30413"/>
                    <a:gd name="connsiteX11" fmla="*/ 0 w 41317"/>
                    <a:gd name="connsiteY11" fmla="*/ 30414 h 30413"/>
                    <a:gd name="connsiteX12" fmla="*/ 10869 w 41317"/>
                    <a:gd name="connsiteY12" fmla="*/ 0 h 30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317" h="30413">
                      <a:moveTo>
                        <a:pt x="10869" y="0"/>
                      </a:moveTo>
                      <a:lnTo>
                        <a:pt x="41318" y="0"/>
                      </a:lnTo>
                      <a:lnTo>
                        <a:pt x="38372" y="8271"/>
                      </a:lnTo>
                      <a:lnTo>
                        <a:pt x="22360" y="8271"/>
                      </a:lnTo>
                      <a:lnTo>
                        <a:pt x="21364" y="11028"/>
                      </a:lnTo>
                      <a:lnTo>
                        <a:pt x="35800" y="11028"/>
                      </a:lnTo>
                      <a:lnTo>
                        <a:pt x="32772" y="19300"/>
                      </a:lnTo>
                      <a:lnTo>
                        <a:pt x="18419" y="19300"/>
                      </a:lnTo>
                      <a:lnTo>
                        <a:pt x="17382" y="22143"/>
                      </a:lnTo>
                      <a:lnTo>
                        <a:pt x="33394" y="22143"/>
                      </a:lnTo>
                      <a:lnTo>
                        <a:pt x="30449" y="30414"/>
                      </a:lnTo>
                      <a:lnTo>
                        <a:pt x="0" y="30414"/>
                      </a:lnTo>
                      <a:lnTo>
                        <a:pt x="10869" y="0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2" name="Freeform: Shape 601">
                  <a:extLst>
                    <a:ext uri="{FF2B5EF4-FFF2-40B4-BE49-F238E27FC236}">
                      <a16:creationId xmlns:a16="http://schemas.microsoft.com/office/drawing/2014/main" id="{5193BAEA-22D0-4692-8F07-74BBDF5724FE}"/>
                    </a:ext>
                  </a:extLst>
                </p:cNvPr>
                <p:cNvSpPr/>
                <p:nvPr/>
              </p:nvSpPr>
              <p:spPr>
                <a:xfrm>
                  <a:off x="2874403" y="2760542"/>
                  <a:ext cx="38206" cy="32050"/>
                </a:xfrm>
                <a:custGeom>
                  <a:avLst/>
                  <a:gdLst>
                    <a:gd name="connsiteX0" fmla="*/ 0 w 38206"/>
                    <a:gd name="connsiteY0" fmla="*/ 29768 h 32050"/>
                    <a:gd name="connsiteX1" fmla="*/ 2945 w 38206"/>
                    <a:gd name="connsiteY1" fmla="*/ 21626 h 32050"/>
                    <a:gd name="connsiteX2" fmla="*/ 13690 w 38206"/>
                    <a:gd name="connsiteY2" fmla="*/ 23607 h 32050"/>
                    <a:gd name="connsiteX3" fmla="*/ 19248 w 38206"/>
                    <a:gd name="connsiteY3" fmla="*/ 22229 h 32050"/>
                    <a:gd name="connsiteX4" fmla="*/ 18336 w 38206"/>
                    <a:gd name="connsiteY4" fmla="*/ 20506 h 32050"/>
                    <a:gd name="connsiteX5" fmla="*/ 14187 w 38206"/>
                    <a:gd name="connsiteY5" fmla="*/ 19860 h 32050"/>
                    <a:gd name="connsiteX6" fmla="*/ 6388 w 38206"/>
                    <a:gd name="connsiteY6" fmla="*/ 8831 h 32050"/>
                    <a:gd name="connsiteX7" fmla="*/ 24226 w 38206"/>
                    <a:gd name="connsiteY7" fmla="*/ 0 h 32050"/>
                    <a:gd name="connsiteX8" fmla="*/ 38206 w 38206"/>
                    <a:gd name="connsiteY8" fmla="*/ 2154 h 32050"/>
                    <a:gd name="connsiteX9" fmla="*/ 35302 w 38206"/>
                    <a:gd name="connsiteY9" fmla="*/ 10296 h 32050"/>
                    <a:gd name="connsiteX10" fmla="*/ 24931 w 38206"/>
                    <a:gd name="connsiteY10" fmla="*/ 8443 h 32050"/>
                    <a:gd name="connsiteX11" fmla="*/ 20285 w 38206"/>
                    <a:gd name="connsiteY11" fmla="*/ 9650 h 32050"/>
                    <a:gd name="connsiteX12" fmla="*/ 21115 w 38206"/>
                    <a:gd name="connsiteY12" fmla="*/ 11115 h 32050"/>
                    <a:gd name="connsiteX13" fmla="*/ 25263 w 38206"/>
                    <a:gd name="connsiteY13" fmla="*/ 11761 h 32050"/>
                    <a:gd name="connsiteX14" fmla="*/ 33021 w 38206"/>
                    <a:gd name="connsiteY14" fmla="*/ 23349 h 32050"/>
                    <a:gd name="connsiteX15" fmla="*/ 15349 w 38206"/>
                    <a:gd name="connsiteY15" fmla="*/ 32051 h 32050"/>
                    <a:gd name="connsiteX16" fmla="*/ 0 w 38206"/>
                    <a:gd name="connsiteY16" fmla="*/ 29768 h 32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8206" h="32050">
                      <a:moveTo>
                        <a:pt x="0" y="29768"/>
                      </a:moveTo>
                      <a:lnTo>
                        <a:pt x="2945" y="21626"/>
                      </a:lnTo>
                      <a:cubicBezTo>
                        <a:pt x="5476" y="22703"/>
                        <a:pt x="10122" y="23607"/>
                        <a:pt x="13690" y="23607"/>
                      </a:cubicBezTo>
                      <a:cubicBezTo>
                        <a:pt x="17589" y="23607"/>
                        <a:pt x="18709" y="23392"/>
                        <a:pt x="19248" y="22229"/>
                      </a:cubicBezTo>
                      <a:cubicBezTo>
                        <a:pt x="19705" y="21195"/>
                        <a:pt x="19124" y="20635"/>
                        <a:pt x="18336" y="20506"/>
                      </a:cubicBezTo>
                      <a:lnTo>
                        <a:pt x="14187" y="19860"/>
                      </a:lnTo>
                      <a:cubicBezTo>
                        <a:pt x="5973" y="18610"/>
                        <a:pt x="4397" y="14475"/>
                        <a:pt x="6388" y="8831"/>
                      </a:cubicBezTo>
                      <a:cubicBezTo>
                        <a:pt x="8711" y="2283"/>
                        <a:pt x="15100" y="0"/>
                        <a:pt x="24226" y="0"/>
                      </a:cubicBezTo>
                      <a:cubicBezTo>
                        <a:pt x="30200" y="0"/>
                        <a:pt x="34307" y="732"/>
                        <a:pt x="38206" y="2154"/>
                      </a:cubicBezTo>
                      <a:lnTo>
                        <a:pt x="35302" y="10296"/>
                      </a:lnTo>
                      <a:cubicBezTo>
                        <a:pt x="33021" y="9391"/>
                        <a:pt x="28873" y="8443"/>
                        <a:pt x="24931" y="8443"/>
                      </a:cubicBezTo>
                      <a:cubicBezTo>
                        <a:pt x="21820" y="8443"/>
                        <a:pt x="20659" y="8616"/>
                        <a:pt x="20285" y="9650"/>
                      </a:cubicBezTo>
                      <a:cubicBezTo>
                        <a:pt x="19912" y="10641"/>
                        <a:pt x="20327" y="10985"/>
                        <a:pt x="21115" y="11115"/>
                      </a:cubicBezTo>
                      <a:lnTo>
                        <a:pt x="25263" y="11761"/>
                      </a:lnTo>
                      <a:cubicBezTo>
                        <a:pt x="33602" y="13010"/>
                        <a:pt x="35261" y="17447"/>
                        <a:pt x="33021" y="23349"/>
                      </a:cubicBezTo>
                      <a:cubicBezTo>
                        <a:pt x="30490" y="30112"/>
                        <a:pt x="24351" y="32051"/>
                        <a:pt x="15349" y="32051"/>
                      </a:cubicBezTo>
                      <a:cubicBezTo>
                        <a:pt x="8711" y="32051"/>
                        <a:pt x="4190" y="31319"/>
                        <a:pt x="0" y="29768"/>
                      </a:cubicBez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3" name="Freeform: Shape 602">
                  <a:extLst>
                    <a:ext uri="{FF2B5EF4-FFF2-40B4-BE49-F238E27FC236}">
                      <a16:creationId xmlns:a16="http://schemas.microsoft.com/office/drawing/2014/main" id="{098DDE63-8B22-476C-9FA9-D2F9A02BBA3D}"/>
                    </a:ext>
                  </a:extLst>
                </p:cNvPr>
                <p:cNvSpPr/>
                <p:nvPr/>
              </p:nvSpPr>
              <p:spPr>
                <a:xfrm>
                  <a:off x="2908503" y="2761361"/>
                  <a:ext cx="25346" cy="30370"/>
                </a:xfrm>
                <a:custGeom>
                  <a:avLst/>
                  <a:gdLst>
                    <a:gd name="connsiteX0" fmla="*/ 0 w 25346"/>
                    <a:gd name="connsiteY0" fmla="*/ 30371 h 30370"/>
                    <a:gd name="connsiteX1" fmla="*/ 10869 w 25346"/>
                    <a:gd name="connsiteY1" fmla="*/ 0 h 30370"/>
                    <a:gd name="connsiteX2" fmla="*/ 25346 w 25346"/>
                    <a:gd name="connsiteY2" fmla="*/ 0 h 30370"/>
                    <a:gd name="connsiteX3" fmla="*/ 14478 w 25346"/>
                    <a:gd name="connsiteY3" fmla="*/ 30371 h 30370"/>
                    <a:gd name="connsiteX4" fmla="*/ 0 w 25346"/>
                    <a:gd name="connsiteY4" fmla="*/ 30371 h 30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346" h="30370">
                      <a:moveTo>
                        <a:pt x="0" y="30371"/>
                      </a:moveTo>
                      <a:lnTo>
                        <a:pt x="10869" y="0"/>
                      </a:lnTo>
                      <a:lnTo>
                        <a:pt x="25346" y="0"/>
                      </a:lnTo>
                      <a:lnTo>
                        <a:pt x="14478" y="30371"/>
                      </a:lnTo>
                      <a:lnTo>
                        <a:pt x="0" y="30371"/>
                      </a:ln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04" name="Freeform: Shape 603">
                  <a:extLst>
                    <a:ext uri="{FF2B5EF4-FFF2-40B4-BE49-F238E27FC236}">
                      <a16:creationId xmlns:a16="http://schemas.microsoft.com/office/drawing/2014/main" id="{CCA83916-7F8F-404D-B894-72DFA3D145F6}"/>
                    </a:ext>
                  </a:extLst>
                </p:cNvPr>
                <p:cNvSpPr/>
                <p:nvPr/>
              </p:nvSpPr>
              <p:spPr>
                <a:xfrm>
                  <a:off x="2928539" y="2760542"/>
                  <a:ext cx="38165" cy="32050"/>
                </a:xfrm>
                <a:custGeom>
                  <a:avLst/>
                  <a:gdLst>
                    <a:gd name="connsiteX0" fmla="*/ 0 w 38165"/>
                    <a:gd name="connsiteY0" fmla="*/ 29768 h 32050"/>
                    <a:gd name="connsiteX1" fmla="*/ 2945 w 38165"/>
                    <a:gd name="connsiteY1" fmla="*/ 21626 h 32050"/>
                    <a:gd name="connsiteX2" fmla="*/ 13690 w 38165"/>
                    <a:gd name="connsiteY2" fmla="*/ 23607 h 32050"/>
                    <a:gd name="connsiteX3" fmla="*/ 19248 w 38165"/>
                    <a:gd name="connsiteY3" fmla="*/ 22229 h 32050"/>
                    <a:gd name="connsiteX4" fmla="*/ 18336 w 38165"/>
                    <a:gd name="connsiteY4" fmla="*/ 20506 h 32050"/>
                    <a:gd name="connsiteX5" fmla="*/ 14187 w 38165"/>
                    <a:gd name="connsiteY5" fmla="*/ 19860 h 32050"/>
                    <a:gd name="connsiteX6" fmla="*/ 6388 w 38165"/>
                    <a:gd name="connsiteY6" fmla="*/ 8831 h 32050"/>
                    <a:gd name="connsiteX7" fmla="*/ 24226 w 38165"/>
                    <a:gd name="connsiteY7" fmla="*/ 0 h 32050"/>
                    <a:gd name="connsiteX8" fmla="*/ 38165 w 38165"/>
                    <a:gd name="connsiteY8" fmla="*/ 2154 h 32050"/>
                    <a:gd name="connsiteX9" fmla="*/ 35261 w 38165"/>
                    <a:gd name="connsiteY9" fmla="*/ 10296 h 32050"/>
                    <a:gd name="connsiteX10" fmla="*/ 24890 w 38165"/>
                    <a:gd name="connsiteY10" fmla="*/ 8443 h 32050"/>
                    <a:gd name="connsiteX11" fmla="*/ 20244 w 38165"/>
                    <a:gd name="connsiteY11" fmla="*/ 9650 h 32050"/>
                    <a:gd name="connsiteX12" fmla="*/ 21074 w 38165"/>
                    <a:gd name="connsiteY12" fmla="*/ 11115 h 32050"/>
                    <a:gd name="connsiteX13" fmla="*/ 25222 w 38165"/>
                    <a:gd name="connsiteY13" fmla="*/ 11761 h 32050"/>
                    <a:gd name="connsiteX14" fmla="*/ 32980 w 38165"/>
                    <a:gd name="connsiteY14" fmla="*/ 23349 h 32050"/>
                    <a:gd name="connsiteX15" fmla="*/ 15308 w 38165"/>
                    <a:gd name="connsiteY15" fmla="*/ 32051 h 32050"/>
                    <a:gd name="connsiteX16" fmla="*/ 0 w 38165"/>
                    <a:gd name="connsiteY16" fmla="*/ 29768 h 32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8165" h="32050">
                      <a:moveTo>
                        <a:pt x="0" y="29768"/>
                      </a:moveTo>
                      <a:lnTo>
                        <a:pt x="2945" y="21626"/>
                      </a:lnTo>
                      <a:cubicBezTo>
                        <a:pt x="5476" y="22703"/>
                        <a:pt x="10122" y="23607"/>
                        <a:pt x="13690" y="23607"/>
                      </a:cubicBezTo>
                      <a:cubicBezTo>
                        <a:pt x="17589" y="23607"/>
                        <a:pt x="18709" y="23392"/>
                        <a:pt x="19248" y="22229"/>
                      </a:cubicBezTo>
                      <a:cubicBezTo>
                        <a:pt x="19705" y="21195"/>
                        <a:pt x="19124" y="20635"/>
                        <a:pt x="18336" y="20506"/>
                      </a:cubicBezTo>
                      <a:lnTo>
                        <a:pt x="14187" y="19860"/>
                      </a:lnTo>
                      <a:cubicBezTo>
                        <a:pt x="5974" y="18610"/>
                        <a:pt x="4397" y="14475"/>
                        <a:pt x="6388" y="8831"/>
                      </a:cubicBezTo>
                      <a:cubicBezTo>
                        <a:pt x="8711" y="2283"/>
                        <a:pt x="15100" y="0"/>
                        <a:pt x="24226" y="0"/>
                      </a:cubicBezTo>
                      <a:cubicBezTo>
                        <a:pt x="30200" y="0"/>
                        <a:pt x="34307" y="732"/>
                        <a:pt x="38165" y="2154"/>
                      </a:cubicBezTo>
                      <a:lnTo>
                        <a:pt x="35261" y="10296"/>
                      </a:lnTo>
                      <a:cubicBezTo>
                        <a:pt x="32980" y="9391"/>
                        <a:pt x="28831" y="8443"/>
                        <a:pt x="24890" y="8443"/>
                      </a:cubicBezTo>
                      <a:cubicBezTo>
                        <a:pt x="21779" y="8443"/>
                        <a:pt x="20617" y="8616"/>
                        <a:pt x="20244" y="9650"/>
                      </a:cubicBezTo>
                      <a:cubicBezTo>
                        <a:pt x="19871" y="10641"/>
                        <a:pt x="20285" y="10985"/>
                        <a:pt x="21074" y="11115"/>
                      </a:cubicBezTo>
                      <a:lnTo>
                        <a:pt x="25222" y="11761"/>
                      </a:lnTo>
                      <a:cubicBezTo>
                        <a:pt x="33560" y="13010"/>
                        <a:pt x="35220" y="17447"/>
                        <a:pt x="32980" y="23349"/>
                      </a:cubicBezTo>
                      <a:cubicBezTo>
                        <a:pt x="30449" y="30112"/>
                        <a:pt x="24309" y="32051"/>
                        <a:pt x="15308" y="32051"/>
                      </a:cubicBezTo>
                      <a:cubicBezTo>
                        <a:pt x="8711" y="32051"/>
                        <a:pt x="4190" y="31319"/>
                        <a:pt x="0" y="29768"/>
                      </a:cubicBezTo>
                      <a:close/>
                    </a:path>
                  </a:pathLst>
                </a:custGeom>
                <a:solidFill>
                  <a:srgbClr val="27509B"/>
                </a:solidFill>
                <a:ln w="41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605" name="TextBox 604">
            <a:extLst>
              <a:ext uri="{FF2B5EF4-FFF2-40B4-BE49-F238E27FC236}">
                <a16:creationId xmlns:a16="http://schemas.microsoft.com/office/drawing/2014/main" id="{4B05C960-D0D3-4D53-85EA-330B31873224}"/>
              </a:ext>
            </a:extLst>
          </p:cNvPr>
          <p:cNvSpPr txBox="1"/>
          <p:nvPr/>
        </p:nvSpPr>
        <p:spPr>
          <a:xfrm>
            <a:off x="2968626" y="1768953"/>
            <a:ext cx="7449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/>
              <a:t>Learning Cycle*</a:t>
            </a:r>
          </a:p>
        </p:txBody>
      </p:sp>
      <p:sp>
        <p:nvSpPr>
          <p:cNvPr id="606" name="TextBox 605">
            <a:extLst>
              <a:ext uri="{FF2B5EF4-FFF2-40B4-BE49-F238E27FC236}">
                <a16:creationId xmlns:a16="http://schemas.microsoft.com/office/drawing/2014/main" id="{06F201B7-8A57-4F26-9CBD-8CEAC33215CA}"/>
              </a:ext>
            </a:extLst>
          </p:cNvPr>
          <p:cNvSpPr txBox="1"/>
          <p:nvPr/>
        </p:nvSpPr>
        <p:spPr>
          <a:xfrm>
            <a:off x="5284548" y="1785078"/>
            <a:ext cx="7449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/>
              <a:t>Learning Cycle*</a:t>
            </a:r>
          </a:p>
        </p:txBody>
      </p:sp>
    </p:spTree>
    <p:extLst>
      <p:ext uri="{BB962C8B-B14F-4D97-AF65-F5344CB8AC3E}">
        <p14:creationId xmlns:p14="http://schemas.microsoft.com/office/powerpoint/2010/main" val="26319086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1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C97AAC-D16A-478F-95B1-E9944B8633B3}">
  <ds:schemaRefs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infopath/2007/PartnerControls"/>
    <ds:schemaRef ds:uri="e2e26994-5e48-4994-8c16-0b6f61c4bc8a"/>
    <ds:schemaRef ds:uri="http://purl.org/dc/terms/"/>
    <ds:schemaRef ds:uri="http://schemas.openxmlformats.org/package/2006/metadata/core-properties"/>
    <ds:schemaRef ds:uri="9f09b4db-7fdb-4a79-a1ce-e7e1d5ac2b17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345BF31-44AE-4465-BECF-E43C8C381D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EFC16D8-2F60-4844-97AE-E0BD300158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</TotalTime>
  <Words>38</Words>
  <Application>Microsoft Office PowerPoint</Application>
  <PresentationFormat>On-screen Show (16:9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0" baseType="lpstr">
      <vt:lpstr>Arial</vt:lpstr>
      <vt:lpstr>Calibri</vt:lpstr>
      <vt:lpstr>Gotham Rounded Bold</vt:lpstr>
      <vt:lpstr>Lucida Grande</vt:lpstr>
      <vt:lpstr>Michelin</vt:lpstr>
      <vt:lpstr>Michelin Black</vt:lpstr>
      <vt:lpstr>Michelin SemiBold</vt:lpstr>
      <vt:lpstr>Rounded Elegance</vt:lpstr>
      <vt:lpstr>Wingdings</vt:lpstr>
      <vt:lpstr>Wingdings 3</vt:lpstr>
      <vt:lpstr>SLIDE 1</vt:lpstr>
      <vt:lpstr>CHAPITRE</vt:lpstr>
      <vt:lpstr>CONTENU</vt:lpstr>
      <vt:lpstr>FIN</vt:lpstr>
      <vt:lpstr>1_CONTENU</vt:lpstr>
      <vt:lpstr>2_CONTENU</vt:lpstr>
      <vt:lpstr>3_CONTENU</vt:lpstr>
      <vt:lpstr>4_CONTENU</vt:lpstr>
      <vt:lpstr>Diapositive think-cell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 a digital Information system EA Steering, March 22nd</dc:title>
  <dc:creator>Nicolas CHEVALIER</dc:creator>
  <cp:lastModifiedBy>Frederic le</cp:lastModifiedBy>
  <cp:revision>575</cp:revision>
  <cp:lastPrinted>2020-01-30T15:06:13Z</cp:lastPrinted>
  <dcterms:modified xsi:type="dcterms:W3CDTF">2020-11-12T14:11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